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slideLayouts/slideLayout13.xml" ContentType="application/vnd.openxmlformats-officedocument.presentationml.slideLayout+xml"/>
  <Override PartName="/ppt/diagrams/layout1.xml" ContentType="application/vnd.openxmlformats-officedocument.drawingml.diagramLayout+xml"/>
  <Override PartName="/ppt/slideLayouts/slideLayout17.xml" ContentType="application/vnd.openxmlformats-officedocument.presentationml.slideLayout+xml"/>
  <Override PartName="/ppt/slides/slide8.xml" ContentType="application/vnd.openxmlformats-officedocument.presentationml.slide+xml"/>
  <Override PartName="/docProps/app.xml" ContentType="application/vnd.openxmlformats-officedocument.extended-properties+xml"/>
  <Override PartName="/ppt/slideLayouts/slideLayout29.xml" ContentType="application/vnd.openxmlformats-officedocument.presentationml.slideLayout+xml"/>
  <Override PartName="/docProps/core.xml" ContentType="application/vnd.openxmlformats-package.core-properties+xml"/>
  <Override PartName="/ppt/tags/tag6.xml" ContentType="application/vnd.openxmlformats-officedocument.presentationml.tags+xml"/>
  <Override PartName="/ppt/notesSlides/notesSlide2.xml" ContentType="application/vnd.openxmlformats-officedocument.presentationml.notesSlide+xml"/>
  <Override PartName="/ppt/slideLayouts/slideLayout8.xml" ContentType="application/vnd.openxmlformats-officedocument.presentationml.slideLayout+xml"/>
  <Override PartName="/ppt/diagrams/colors1.xml" ContentType="application/vnd.openxmlformats-officedocument.drawingml.diagramColors+xml"/>
  <Override PartName="/ppt/theme/theme1.xml" ContentType="application/vnd.openxmlformats-officedocument.theme+xml"/>
  <Override PartName="/ppt/diagrams/quickStyle1.xml" ContentType="application/vnd.openxmlformats-officedocument.drawingml.diagramStyle+xml"/>
  <Override PartName="/ppt/slideLayouts/slideLayout24.xml" ContentType="application/vnd.openxmlformats-officedocument.presentationml.slideLayout+xml"/>
  <Override PartName="/ppt/diagrams/data1.xml" ContentType="application/vnd.openxmlformats-officedocument.drawingml.diagramData+xml"/>
  <Override PartName="/ppt/diagrams/drawing1.xml" ContentType="application/vnd.ms-office.drawingml.diagramDrawing+xml"/>
  <Override PartName="/ppt/slideLayouts/slideLayout6.xml" ContentType="application/vnd.openxmlformats-officedocument.presentationml.slideLayout+xml"/>
  <Override PartName="/ppt/tags/tag3.xml" ContentType="application/vnd.openxmlformats-officedocument.presentationml.tags+xml"/>
  <Override PartName="/ppt/slideLayouts/slideLayout7.xml" ContentType="application/vnd.openxmlformats-officedocument.presentationml.slideLayout+xml"/>
  <Override PartName="/ppt/slideLayouts/slideLayout27.xml" ContentType="application/vnd.openxmlformats-officedocument.presentationml.slideLayout+xml"/>
  <Override PartName="/ppt/viewProps.xml" ContentType="application/vnd.openxmlformats-officedocument.presentationml.viewProps+xml"/>
  <Override PartName="/ppt/tags/tag8.xml" ContentType="application/vnd.openxmlformats-officedocument.presentationml.tags+xml"/>
  <Override PartName="/ppt/slideLayouts/slideLayout18.xml" ContentType="application/vnd.openxmlformats-officedocument.presentationml.slideLayout+xml"/>
  <Override PartName="/ppt/slides/slide7.xml" ContentType="application/vnd.openxmlformats-officedocument.presentationml.slide+xml"/>
  <Override PartName="/ppt/tags/tag10.xml" ContentType="application/vnd.openxmlformats-officedocument.presentationml.tags+xml"/>
  <Override PartName="/ppt/notesMasters/notesMaster1.xml" ContentType="application/vnd.openxmlformats-officedocument.presentationml.notesMaster+xml"/>
  <Override PartName="/ppt/slideLayouts/slideLayout21.xml" ContentType="application/vnd.openxmlformats-officedocument.presentationml.slideLayout+xml"/>
  <Override PartName="/ppt/notesSlides/notesSlide1.xml" ContentType="application/vnd.openxmlformats-officedocument.presentationml.notesSlide+xml"/>
  <Override PartName="/ppt/slideLayouts/slideLayout9.xml" ContentType="application/vnd.openxmlformats-officedocument.presentationml.slideLayout+xml"/>
  <Override PartName="/ppt/notesSlides/notesSlide3.xml" ContentType="application/vnd.openxmlformats-officedocument.presentationml.notesSlid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presProps.xml" ContentType="application/vnd.openxmlformats-officedocument.presentationml.presProps+xml"/>
  <Override PartName="/ppt/presentation.xml" ContentType="application/vnd.openxmlformats-officedocument.presentationml.presentation.main+xml"/>
  <Override PartName="/ppt/theme/theme3.xml" ContentType="application/vnd.openxmlformats-officedocument.theme+xml"/>
  <Override PartName="/ppt/slides/slide2.xml" ContentType="application/vnd.openxmlformats-officedocument.presentationml.slide+xml"/>
  <Override PartName="/ppt/slideLayouts/slideLayout25.xml" ContentType="application/vnd.openxmlformats-officedocument.presentationml.slideLayout+xml"/>
  <Override PartName="/ppt/slides/slide4.xml" ContentType="application/vnd.openxmlformats-officedocument.presentationml.slide+xml"/>
  <Override PartName="/ppt/slideLayouts/slideLayout1.xml" ContentType="application/vnd.openxmlformats-officedocument.presentationml.slideLayout+xml"/>
  <Override PartName="/ppt/slideLayouts/slideLayout26.xml" ContentType="application/vnd.openxmlformats-officedocument.presentationml.slideLayout+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s/slide9.xml" ContentType="application/vnd.openxmlformats-officedocument.presentationml.slide+xml"/>
  <Override PartName="/ppt/slideLayouts/slideLayout16.xml" ContentType="application/vnd.openxmlformats-officedocument.presentationml.slideLayout+xml"/>
  <Override PartName="/ppt/slides/slide6.xml" ContentType="application/vnd.openxmlformats-officedocument.presentationml.slid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8.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3.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1.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ppt/tags/tag7.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ppt/revisionInfo.xml" ContentType="application/vnd.ms-powerpoint.revision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12"/>
  </p:notesMasterIdLst>
  <p:sldIdLst>
    <p:sldId id="2147479285" r:id="rId3"/>
    <p:sldId id="2147479286" r:id="rId4"/>
    <p:sldId id="2147479288" r:id="rId5"/>
    <p:sldId id="2147479287" r:id="rId6"/>
    <p:sldId id="2147479289" r:id="rId7"/>
    <p:sldId id="2147479281" r:id="rId8"/>
    <p:sldId id="2147479244" r:id="rId9"/>
    <p:sldId id="2147479282" r:id="rId10"/>
    <p:sldId id="2147479246"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E6DEE2-DB18-4000-8DFE-25907DD3EDA0}" v="4" dt="2026-05-12T20:27:58.8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2324" autoAdjust="0"/>
  </p:normalViewPr>
  <p:slideViewPr>
    <p:cSldViewPr snapToGrid="0">
      <p:cViewPr varScale="1">
        <p:scale>
          <a:sx n="61" d="100"/>
          <a:sy n="61" d="100"/>
        </p:scale>
        <p:origin x="88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1.xml"/><Relationship Id="rId21" Type="http://schemas.openxmlformats.org/officeDocument/2006/relationships/customXml" Target="../customXml/item3.xml"/><Relationship Id="rId7" Type="http://schemas.openxmlformats.org/officeDocument/2006/relationships/slide" Target="slides/slide5.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tableStyles" Target="tableStyles.xml"/><Relationship Id="rId2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customXml" Target="../customXml/item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e Goodrich" userId="796ae45d-f9a7-49ea-bb56-3c186d75532e" providerId="ADAL" clId="{4761679F-8C2C-4D4F-BEB8-55C29B1D191C}"/>
    <pc:docChg chg="undo custSel addSld delSld modSld">
      <pc:chgData name="Kate Goodrich" userId="796ae45d-f9a7-49ea-bb56-3c186d75532e" providerId="ADAL" clId="{4761679F-8C2C-4D4F-BEB8-55C29B1D191C}" dt="2026-05-12T20:29:42.277" v="2273" actId="20577"/>
      <pc:docMkLst>
        <pc:docMk/>
      </pc:docMkLst>
      <pc:sldChg chg="del">
        <pc:chgData name="Kate Goodrich" userId="796ae45d-f9a7-49ea-bb56-3c186d75532e" providerId="ADAL" clId="{4761679F-8C2C-4D4F-BEB8-55C29B1D191C}" dt="2026-05-12T20:16:27.579" v="1286" actId="47"/>
        <pc:sldMkLst>
          <pc:docMk/>
          <pc:sldMk cId="3248789483" sldId="257"/>
        </pc:sldMkLst>
      </pc:sldChg>
      <pc:sldChg chg="del">
        <pc:chgData name="Kate Goodrich" userId="796ae45d-f9a7-49ea-bb56-3c186d75532e" providerId="ADAL" clId="{4761679F-8C2C-4D4F-BEB8-55C29B1D191C}" dt="2026-05-12T20:16:28.717" v="1288" actId="47"/>
        <pc:sldMkLst>
          <pc:docMk/>
          <pc:sldMk cId="890275617" sldId="507"/>
        </pc:sldMkLst>
      </pc:sldChg>
      <pc:sldChg chg="del">
        <pc:chgData name="Kate Goodrich" userId="796ae45d-f9a7-49ea-bb56-3c186d75532e" providerId="ADAL" clId="{4761679F-8C2C-4D4F-BEB8-55C29B1D191C}" dt="2026-05-12T20:16:25.833" v="1283" actId="47"/>
        <pc:sldMkLst>
          <pc:docMk/>
          <pc:sldMk cId="4023810445" sldId="2146847466"/>
        </pc:sldMkLst>
      </pc:sldChg>
      <pc:sldChg chg="del">
        <pc:chgData name="Kate Goodrich" userId="796ae45d-f9a7-49ea-bb56-3c186d75532e" providerId="ADAL" clId="{4761679F-8C2C-4D4F-BEB8-55C29B1D191C}" dt="2026-05-12T20:16:26.407" v="1284" actId="47"/>
        <pc:sldMkLst>
          <pc:docMk/>
          <pc:sldMk cId="1386728806" sldId="2147471071"/>
        </pc:sldMkLst>
      </pc:sldChg>
      <pc:sldChg chg="del">
        <pc:chgData name="Kate Goodrich" userId="796ae45d-f9a7-49ea-bb56-3c186d75532e" providerId="ADAL" clId="{4761679F-8C2C-4D4F-BEB8-55C29B1D191C}" dt="2026-05-12T20:16:27.026" v="1285" actId="47"/>
        <pc:sldMkLst>
          <pc:docMk/>
          <pc:sldMk cId="1789669531" sldId="2147471072"/>
        </pc:sldMkLst>
      </pc:sldChg>
      <pc:sldChg chg="del">
        <pc:chgData name="Kate Goodrich" userId="796ae45d-f9a7-49ea-bb56-3c186d75532e" providerId="ADAL" clId="{4761679F-8C2C-4D4F-BEB8-55C29B1D191C}" dt="2026-05-12T20:16:28.149" v="1287" actId="47"/>
        <pc:sldMkLst>
          <pc:docMk/>
          <pc:sldMk cId="2040774772" sldId="2147471098"/>
        </pc:sldMkLst>
      </pc:sldChg>
      <pc:sldChg chg="del">
        <pc:chgData name="Kate Goodrich" userId="796ae45d-f9a7-49ea-bb56-3c186d75532e" providerId="ADAL" clId="{4761679F-8C2C-4D4F-BEB8-55C29B1D191C}" dt="2026-05-12T20:16:29.523" v="1289" actId="47"/>
        <pc:sldMkLst>
          <pc:docMk/>
          <pc:sldMk cId="4265755339" sldId="2147471101"/>
        </pc:sldMkLst>
      </pc:sldChg>
      <pc:sldChg chg="del">
        <pc:chgData name="Kate Goodrich" userId="796ae45d-f9a7-49ea-bb56-3c186d75532e" providerId="ADAL" clId="{4761679F-8C2C-4D4F-BEB8-55C29B1D191C}" dt="2026-05-12T20:16:22.108" v="1281" actId="47"/>
        <pc:sldMkLst>
          <pc:docMk/>
          <pc:sldMk cId="3934130221" sldId="2147471105"/>
        </pc:sldMkLst>
      </pc:sldChg>
      <pc:sldChg chg="del">
        <pc:chgData name="Kate Goodrich" userId="796ae45d-f9a7-49ea-bb56-3c186d75532e" providerId="ADAL" clId="{4761679F-8C2C-4D4F-BEB8-55C29B1D191C}" dt="2026-05-12T20:16:31.082" v="1291" actId="47"/>
        <pc:sldMkLst>
          <pc:docMk/>
          <pc:sldMk cId="1370092287" sldId="2147477292"/>
        </pc:sldMkLst>
      </pc:sldChg>
      <pc:sldChg chg="del">
        <pc:chgData name="Kate Goodrich" userId="796ae45d-f9a7-49ea-bb56-3c186d75532e" providerId="ADAL" clId="{4761679F-8C2C-4D4F-BEB8-55C29B1D191C}" dt="2026-05-12T20:16:32.938" v="1293" actId="47"/>
        <pc:sldMkLst>
          <pc:docMk/>
          <pc:sldMk cId="4248974759" sldId="2147477300"/>
        </pc:sldMkLst>
      </pc:sldChg>
      <pc:sldChg chg="del">
        <pc:chgData name="Kate Goodrich" userId="796ae45d-f9a7-49ea-bb56-3c186d75532e" providerId="ADAL" clId="{4761679F-8C2C-4D4F-BEB8-55C29B1D191C}" dt="2026-05-12T20:16:31.678" v="1292" actId="47"/>
        <pc:sldMkLst>
          <pc:docMk/>
          <pc:sldMk cId="2286519095" sldId="2147477314"/>
        </pc:sldMkLst>
      </pc:sldChg>
      <pc:sldChg chg="del">
        <pc:chgData name="Kate Goodrich" userId="796ae45d-f9a7-49ea-bb56-3c186d75532e" providerId="ADAL" clId="{4761679F-8C2C-4D4F-BEB8-55C29B1D191C}" dt="2026-05-12T20:28:18.167" v="2237" actId="47"/>
        <pc:sldMkLst>
          <pc:docMk/>
          <pc:sldMk cId="52046089" sldId="2147479242"/>
        </pc:sldMkLst>
      </pc:sldChg>
      <pc:sldChg chg="del">
        <pc:chgData name="Kate Goodrich" userId="796ae45d-f9a7-49ea-bb56-3c186d75532e" providerId="ADAL" clId="{4761679F-8C2C-4D4F-BEB8-55C29B1D191C}" dt="2026-05-12T20:28:18.980" v="2238" actId="47"/>
        <pc:sldMkLst>
          <pc:docMk/>
          <pc:sldMk cId="478655582" sldId="2147479243"/>
        </pc:sldMkLst>
      </pc:sldChg>
      <pc:sldChg chg="del">
        <pc:chgData name="Kate Goodrich" userId="796ae45d-f9a7-49ea-bb56-3c186d75532e" providerId="ADAL" clId="{4761679F-8C2C-4D4F-BEB8-55C29B1D191C}" dt="2026-05-12T20:28:19.666" v="2239" actId="47"/>
        <pc:sldMkLst>
          <pc:docMk/>
          <pc:sldMk cId="2790537266" sldId="2147479245"/>
        </pc:sldMkLst>
      </pc:sldChg>
      <pc:sldChg chg="del">
        <pc:chgData name="Kate Goodrich" userId="796ae45d-f9a7-49ea-bb56-3c186d75532e" providerId="ADAL" clId="{4761679F-8C2C-4D4F-BEB8-55C29B1D191C}" dt="2026-05-12T20:28:20.442" v="2240" actId="47"/>
        <pc:sldMkLst>
          <pc:docMk/>
          <pc:sldMk cId="3097312454" sldId="2147479270"/>
        </pc:sldMkLst>
      </pc:sldChg>
      <pc:sldChg chg="del">
        <pc:chgData name="Kate Goodrich" userId="796ae45d-f9a7-49ea-bb56-3c186d75532e" providerId="ADAL" clId="{4761679F-8C2C-4D4F-BEB8-55C29B1D191C}" dt="2026-05-12T20:28:17.129" v="2236" actId="47"/>
        <pc:sldMkLst>
          <pc:docMk/>
          <pc:sldMk cId="1568135140" sldId="2147479279"/>
        </pc:sldMkLst>
      </pc:sldChg>
      <pc:sldChg chg="del">
        <pc:chgData name="Kate Goodrich" userId="796ae45d-f9a7-49ea-bb56-3c186d75532e" providerId="ADAL" clId="{4761679F-8C2C-4D4F-BEB8-55C29B1D191C}" dt="2026-05-12T20:16:30.100" v="1290" actId="47"/>
        <pc:sldMkLst>
          <pc:docMk/>
          <pc:sldMk cId="1343563589" sldId="2147479280"/>
        </pc:sldMkLst>
      </pc:sldChg>
      <pc:sldChg chg="add del">
        <pc:chgData name="Kate Goodrich" userId="796ae45d-f9a7-49ea-bb56-3c186d75532e" providerId="ADAL" clId="{4761679F-8C2C-4D4F-BEB8-55C29B1D191C}" dt="2026-05-12T20:16:36.037" v="1295" actId="47"/>
        <pc:sldMkLst>
          <pc:docMk/>
          <pc:sldMk cId="3572922174" sldId="2147479281"/>
        </pc:sldMkLst>
      </pc:sldChg>
      <pc:sldChg chg="del">
        <pc:chgData name="Kate Goodrich" userId="796ae45d-f9a7-49ea-bb56-3c186d75532e" providerId="ADAL" clId="{4761679F-8C2C-4D4F-BEB8-55C29B1D191C}" dt="2026-05-12T20:16:21.089" v="1280" actId="47"/>
        <pc:sldMkLst>
          <pc:docMk/>
          <pc:sldMk cId="500589711" sldId="2147479283"/>
        </pc:sldMkLst>
      </pc:sldChg>
      <pc:sldChg chg="del">
        <pc:chgData name="Kate Goodrich" userId="796ae45d-f9a7-49ea-bb56-3c186d75532e" providerId="ADAL" clId="{4761679F-8C2C-4D4F-BEB8-55C29B1D191C}" dt="2026-05-12T20:16:25.276" v="1282" actId="47"/>
        <pc:sldMkLst>
          <pc:docMk/>
          <pc:sldMk cId="2149417661" sldId="2147479284"/>
        </pc:sldMkLst>
      </pc:sldChg>
      <pc:sldChg chg="modSp mod">
        <pc:chgData name="Kate Goodrich" userId="796ae45d-f9a7-49ea-bb56-3c186d75532e" providerId="ADAL" clId="{4761679F-8C2C-4D4F-BEB8-55C29B1D191C}" dt="2026-05-12T19:49:19.227" v="40" actId="20577"/>
        <pc:sldMkLst>
          <pc:docMk/>
          <pc:sldMk cId="1209952975" sldId="2147479285"/>
        </pc:sldMkLst>
        <pc:spChg chg="mod">
          <ac:chgData name="Kate Goodrich" userId="796ae45d-f9a7-49ea-bb56-3c186d75532e" providerId="ADAL" clId="{4761679F-8C2C-4D4F-BEB8-55C29B1D191C}" dt="2026-05-12T19:49:19.227" v="40" actId="20577"/>
          <ac:spMkLst>
            <pc:docMk/>
            <pc:sldMk cId="1209952975" sldId="2147479285"/>
            <ac:spMk id="2" creationId="{67EBF5C8-1DA6-22B2-7147-5E69577F15E7}"/>
          </ac:spMkLst>
        </pc:spChg>
        <pc:spChg chg="mod">
          <ac:chgData name="Kate Goodrich" userId="796ae45d-f9a7-49ea-bb56-3c186d75532e" providerId="ADAL" clId="{4761679F-8C2C-4D4F-BEB8-55C29B1D191C}" dt="2026-05-12T19:49:09.479" v="7" actId="20577"/>
          <ac:spMkLst>
            <pc:docMk/>
            <pc:sldMk cId="1209952975" sldId="2147479285"/>
            <ac:spMk id="3" creationId="{99FD149E-B3A4-21EC-60F5-C2DBAEBDAE9F}"/>
          </ac:spMkLst>
        </pc:spChg>
      </pc:sldChg>
      <pc:sldChg chg="addSp delSp modSp new mod modClrScheme chgLayout">
        <pc:chgData name="Kate Goodrich" userId="796ae45d-f9a7-49ea-bb56-3c186d75532e" providerId="ADAL" clId="{4761679F-8C2C-4D4F-BEB8-55C29B1D191C}" dt="2026-05-12T20:18:10.961" v="1430" actId="20577"/>
        <pc:sldMkLst>
          <pc:docMk/>
          <pc:sldMk cId="3024431233" sldId="2147479286"/>
        </pc:sldMkLst>
        <pc:spChg chg="del mod">
          <ac:chgData name="Kate Goodrich" userId="796ae45d-f9a7-49ea-bb56-3c186d75532e" providerId="ADAL" clId="{4761679F-8C2C-4D4F-BEB8-55C29B1D191C}" dt="2026-05-12T19:55:44.527" v="590" actId="26606"/>
          <ac:spMkLst>
            <pc:docMk/>
            <pc:sldMk cId="3024431233" sldId="2147479286"/>
            <ac:spMk id="2" creationId="{2B3BD4C7-B51F-38D5-5A13-2E3C8B3FAD83}"/>
          </ac:spMkLst>
        </pc:spChg>
        <pc:spChg chg="mod">
          <ac:chgData name="Kate Goodrich" userId="796ae45d-f9a7-49ea-bb56-3c186d75532e" providerId="ADAL" clId="{4761679F-8C2C-4D4F-BEB8-55C29B1D191C}" dt="2026-05-12T20:08:37.211" v="849" actId="255"/>
          <ac:spMkLst>
            <pc:docMk/>
            <pc:sldMk cId="3024431233" sldId="2147479286"/>
            <ac:spMk id="3" creationId="{B4D4AF2D-3098-DAA4-9830-4D4D612585CC}"/>
          </ac:spMkLst>
        </pc:spChg>
        <pc:spChg chg="add del mod">
          <ac:chgData name="Kate Goodrich" userId="796ae45d-f9a7-49ea-bb56-3c186d75532e" providerId="ADAL" clId="{4761679F-8C2C-4D4F-BEB8-55C29B1D191C}" dt="2026-05-12T20:08:28.282" v="847" actId="26606"/>
          <ac:spMkLst>
            <pc:docMk/>
            <pc:sldMk cId="3024431233" sldId="2147479286"/>
            <ac:spMk id="10" creationId="{A21A726A-2132-4DB1-8B90-1B3629B84C34}"/>
          </ac:spMkLst>
        </pc:spChg>
        <pc:graphicFrameChg chg="add mod modGraphic">
          <ac:chgData name="Kate Goodrich" userId="796ae45d-f9a7-49ea-bb56-3c186d75532e" providerId="ADAL" clId="{4761679F-8C2C-4D4F-BEB8-55C29B1D191C}" dt="2026-05-12T20:18:10.961" v="1430" actId="20577"/>
          <ac:graphicFrameMkLst>
            <pc:docMk/>
            <pc:sldMk cId="3024431233" sldId="2147479286"/>
            <ac:graphicFrameMk id="5" creationId="{2E7119A5-19E1-328F-FDEB-C6CD1BCC895F}"/>
          </ac:graphicFrameMkLst>
        </pc:graphicFrameChg>
      </pc:sldChg>
      <pc:sldChg chg="delSp modSp new mod">
        <pc:chgData name="Kate Goodrich" userId="796ae45d-f9a7-49ea-bb56-3c186d75532e" providerId="ADAL" clId="{4761679F-8C2C-4D4F-BEB8-55C29B1D191C}" dt="2026-05-12T20:15:44.822" v="1279" actId="255"/>
        <pc:sldMkLst>
          <pc:docMk/>
          <pc:sldMk cId="1878829009" sldId="2147479287"/>
        </pc:sldMkLst>
        <pc:spChg chg="mod">
          <ac:chgData name="Kate Goodrich" userId="796ae45d-f9a7-49ea-bb56-3c186d75532e" providerId="ADAL" clId="{4761679F-8C2C-4D4F-BEB8-55C29B1D191C}" dt="2026-05-12T20:15:44.822" v="1279" actId="255"/>
          <ac:spMkLst>
            <pc:docMk/>
            <pc:sldMk cId="1878829009" sldId="2147479287"/>
            <ac:spMk id="2" creationId="{5B729124-1347-C7E7-A857-A0892956F24C}"/>
          </ac:spMkLst>
        </pc:spChg>
        <pc:spChg chg="mod">
          <ac:chgData name="Kate Goodrich" userId="796ae45d-f9a7-49ea-bb56-3c186d75532e" providerId="ADAL" clId="{4761679F-8C2C-4D4F-BEB8-55C29B1D191C}" dt="2026-05-12T20:03:35.680" v="841" actId="20577"/>
          <ac:spMkLst>
            <pc:docMk/>
            <pc:sldMk cId="1878829009" sldId="2147479287"/>
            <ac:spMk id="3" creationId="{8F9A9361-FE21-92E4-9C6D-A408CE99704B}"/>
          </ac:spMkLst>
        </pc:spChg>
        <pc:spChg chg="del">
          <ac:chgData name="Kate Goodrich" userId="796ae45d-f9a7-49ea-bb56-3c186d75532e" providerId="ADAL" clId="{4761679F-8C2C-4D4F-BEB8-55C29B1D191C}" dt="2026-05-12T20:03:01.553" v="809" actId="478"/>
          <ac:spMkLst>
            <pc:docMk/>
            <pc:sldMk cId="1878829009" sldId="2147479287"/>
            <ac:spMk id="4" creationId="{32BDE2BF-432D-6629-2787-48F9AEEC4019}"/>
          </ac:spMkLst>
        </pc:spChg>
      </pc:sldChg>
      <pc:sldChg chg="new del">
        <pc:chgData name="Kate Goodrich" userId="796ae45d-f9a7-49ea-bb56-3c186d75532e" providerId="ADAL" clId="{4761679F-8C2C-4D4F-BEB8-55C29B1D191C}" dt="2026-05-12T20:01:33.573" v="623" actId="47"/>
        <pc:sldMkLst>
          <pc:docMk/>
          <pc:sldMk cId="2874683434" sldId="2147479287"/>
        </pc:sldMkLst>
      </pc:sldChg>
      <pc:sldChg chg="new del">
        <pc:chgData name="Kate Goodrich" userId="796ae45d-f9a7-49ea-bb56-3c186d75532e" providerId="ADAL" clId="{4761679F-8C2C-4D4F-BEB8-55C29B1D191C}" dt="2026-05-12T19:59:17.115" v="621" actId="47"/>
        <pc:sldMkLst>
          <pc:docMk/>
          <pc:sldMk cId="3494994639" sldId="2147479287"/>
        </pc:sldMkLst>
      </pc:sldChg>
      <pc:sldChg chg="addSp delSp modSp new del mod modClrScheme chgLayout">
        <pc:chgData name="Kate Goodrich" userId="796ae45d-f9a7-49ea-bb56-3c186d75532e" providerId="ADAL" clId="{4761679F-8C2C-4D4F-BEB8-55C29B1D191C}" dt="2026-05-12T20:10:33.609" v="1030" actId="47"/>
        <pc:sldMkLst>
          <pc:docMk/>
          <pc:sldMk cId="197235577" sldId="2147479288"/>
        </pc:sldMkLst>
        <pc:spChg chg="mod ord">
          <ac:chgData name="Kate Goodrich" userId="796ae45d-f9a7-49ea-bb56-3c186d75532e" providerId="ADAL" clId="{4761679F-8C2C-4D4F-BEB8-55C29B1D191C}" dt="2026-05-12T20:10:19.044" v="1029" actId="700"/>
          <ac:spMkLst>
            <pc:docMk/>
            <pc:sldMk cId="197235577" sldId="2147479288"/>
            <ac:spMk id="2" creationId="{63378CD2-1599-4C90-464D-11361717C5A5}"/>
          </ac:spMkLst>
        </pc:spChg>
        <pc:spChg chg="del">
          <ac:chgData name="Kate Goodrich" userId="796ae45d-f9a7-49ea-bb56-3c186d75532e" providerId="ADAL" clId="{4761679F-8C2C-4D4F-BEB8-55C29B1D191C}" dt="2026-05-12T20:10:07.736" v="1028" actId="478"/>
          <ac:spMkLst>
            <pc:docMk/>
            <pc:sldMk cId="197235577" sldId="2147479288"/>
            <ac:spMk id="3" creationId="{5A475101-3452-8243-579C-704261ECCF3A}"/>
          </ac:spMkLst>
        </pc:spChg>
        <pc:spChg chg="del mod ord">
          <ac:chgData name="Kate Goodrich" userId="796ae45d-f9a7-49ea-bb56-3c186d75532e" providerId="ADAL" clId="{4761679F-8C2C-4D4F-BEB8-55C29B1D191C}" dt="2026-05-12T20:10:19.044" v="1029" actId="700"/>
          <ac:spMkLst>
            <pc:docMk/>
            <pc:sldMk cId="197235577" sldId="2147479288"/>
            <ac:spMk id="4" creationId="{B8FEC2B2-DF85-7243-FA5C-10404D0499EF}"/>
          </ac:spMkLst>
        </pc:spChg>
        <pc:spChg chg="add mod ord">
          <ac:chgData name="Kate Goodrich" userId="796ae45d-f9a7-49ea-bb56-3c186d75532e" providerId="ADAL" clId="{4761679F-8C2C-4D4F-BEB8-55C29B1D191C}" dt="2026-05-12T20:10:19.044" v="1029" actId="700"/>
          <ac:spMkLst>
            <pc:docMk/>
            <pc:sldMk cId="197235577" sldId="2147479288"/>
            <ac:spMk id="5" creationId="{AF2D6FAE-2CEA-DAE8-7E50-4052FF6A433C}"/>
          </ac:spMkLst>
        </pc:spChg>
      </pc:sldChg>
      <pc:sldChg chg="delSp modSp new mod setBg chgLayout">
        <pc:chgData name="Kate Goodrich" userId="796ae45d-f9a7-49ea-bb56-3c186d75532e" providerId="ADAL" clId="{4761679F-8C2C-4D4F-BEB8-55C29B1D191C}" dt="2026-05-12T20:27:29.536" v="2235" actId="255"/>
        <pc:sldMkLst>
          <pc:docMk/>
          <pc:sldMk cId="2212991877" sldId="2147479288"/>
        </pc:sldMkLst>
        <pc:spChg chg="mod">
          <ac:chgData name="Kate Goodrich" userId="796ae45d-f9a7-49ea-bb56-3c186d75532e" providerId="ADAL" clId="{4761679F-8C2C-4D4F-BEB8-55C29B1D191C}" dt="2026-05-12T20:27:29.536" v="2235" actId="255"/>
          <ac:spMkLst>
            <pc:docMk/>
            <pc:sldMk cId="2212991877" sldId="2147479288"/>
            <ac:spMk id="2" creationId="{AE63FE46-10B3-3486-D123-D10EB8D34F19}"/>
          </ac:spMkLst>
        </pc:spChg>
        <pc:spChg chg="del mod">
          <ac:chgData name="Kate Goodrich" userId="796ae45d-f9a7-49ea-bb56-3c186d75532e" providerId="ADAL" clId="{4761679F-8C2C-4D4F-BEB8-55C29B1D191C}" dt="2026-05-12T20:11:41.339" v="1263" actId="478"/>
          <ac:spMkLst>
            <pc:docMk/>
            <pc:sldMk cId="2212991877" sldId="2147479288"/>
            <ac:spMk id="3" creationId="{E5B06F31-B141-AEB6-0061-5E0559B5BD1D}"/>
          </ac:spMkLst>
        </pc:spChg>
        <pc:spChg chg="mod">
          <ac:chgData name="Kate Goodrich" userId="796ae45d-f9a7-49ea-bb56-3c186d75532e" providerId="ADAL" clId="{4761679F-8C2C-4D4F-BEB8-55C29B1D191C}" dt="2026-05-12T20:27:02.161" v="2177" actId="20577"/>
          <ac:spMkLst>
            <pc:docMk/>
            <pc:sldMk cId="2212991877" sldId="2147479288"/>
            <ac:spMk id="4" creationId="{B25A296D-EC92-F3C8-7E99-B1D6AF79CF0B}"/>
          </ac:spMkLst>
        </pc:spChg>
        <pc:spChg chg="del">
          <ac:chgData name="Kate Goodrich" userId="796ae45d-f9a7-49ea-bb56-3c186d75532e" providerId="ADAL" clId="{4761679F-8C2C-4D4F-BEB8-55C29B1D191C}" dt="2026-05-12T20:11:43.453" v="1264" actId="478"/>
          <ac:spMkLst>
            <pc:docMk/>
            <pc:sldMk cId="2212991877" sldId="2147479288"/>
            <ac:spMk id="5" creationId="{14120A26-F197-DE3C-547B-10CDFC7700FD}"/>
          </ac:spMkLst>
        </pc:spChg>
      </pc:sldChg>
      <pc:sldChg chg="modSp new mod">
        <pc:chgData name="Kate Goodrich" userId="796ae45d-f9a7-49ea-bb56-3c186d75532e" providerId="ADAL" clId="{4761679F-8C2C-4D4F-BEB8-55C29B1D191C}" dt="2026-05-12T20:29:42.277" v="2273" actId="20577"/>
        <pc:sldMkLst>
          <pc:docMk/>
          <pc:sldMk cId="2890491237" sldId="2147479289"/>
        </pc:sldMkLst>
        <pc:spChg chg="mod">
          <ac:chgData name="Kate Goodrich" userId="796ae45d-f9a7-49ea-bb56-3c186d75532e" providerId="ADAL" clId="{4761679F-8C2C-4D4F-BEB8-55C29B1D191C}" dt="2026-05-12T20:29:42.277" v="2273" actId="20577"/>
          <ac:spMkLst>
            <pc:docMk/>
            <pc:sldMk cId="2890491237" sldId="2147479289"/>
            <ac:spMk id="2" creationId="{0137573F-4A0E-6EAD-E229-EA1DD02E14C3}"/>
          </ac:spMkLst>
        </pc:spChg>
        <pc:spChg chg="mod">
          <ac:chgData name="Kate Goodrich" userId="796ae45d-f9a7-49ea-bb56-3c186d75532e" providerId="ADAL" clId="{4761679F-8C2C-4D4F-BEB8-55C29B1D191C}" dt="2026-05-12T20:25:27.110" v="2088" actId="255"/>
          <ac:spMkLst>
            <pc:docMk/>
            <pc:sldMk cId="2890491237" sldId="2147479289"/>
            <ac:spMk id="3" creationId="{E4858946-8B89-E9BD-5FD1-D7F1E49CEF0F}"/>
          </ac:spMkLst>
        </pc:spChg>
      </pc:sldChg>
      <pc:sldMasterChg chg="delSldLayout">
        <pc:chgData name="Kate Goodrich" userId="796ae45d-f9a7-49ea-bb56-3c186d75532e" providerId="ADAL" clId="{4761679F-8C2C-4D4F-BEB8-55C29B1D191C}" dt="2026-05-12T20:28:19.666" v="2239" actId="47"/>
        <pc:sldMasterMkLst>
          <pc:docMk/>
          <pc:sldMasterMk cId="2275646835" sldId="2147483648"/>
        </pc:sldMasterMkLst>
        <pc:sldLayoutChg chg="del">
          <pc:chgData name="Kate Goodrich" userId="796ae45d-f9a7-49ea-bb56-3c186d75532e" providerId="ADAL" clId="{4761679F-8C2C-4D4F-BEB8-55C29B1D191C}" dt="2026-05-12T20:28:19.666" v="2239" actId="47"/>
          <pc:sldLayoutMkLst>
            <pc:docMk/>
            <pc:sldMasterMk cId="2275646835" sldId="2147483648"/>
            <pc:sldLayoutMk cId="392824084" sldId="2147483661"/>
          </pc:sldLayoutMkLst>
        </pc:sldLayoutChg>
      </pc:sldMasterChg>
      <pc:sldMasterChg chg="delSldLayout">
        <pc:chgData name="Kate Goodrich" userId="796ae45d-f9a7-49ea-bb56-3c186d75532e" providerId="ADAL" clId="{4761679F-8C2C-4D4F-BEB8-55C29B1D191C}" dt="2026-05-12T20:16:28.717" v="1288" actId="47"/>
        <pc:sldMasterMkLst>
          <pc:docMk/>
          <pc:sldMasterMk cId="4263587062" sldId="2147483662"/>
        </pc:sldMasterMkLst>
        <pc:sldLayoutChg chg="del">
          <pc:chgData name="Kate Goodrich" userId="796ae45d-f9a7-49ea-bb56-3c186d75532e" providerId="ADAL" clId="{4761679F-8C2C-4D4F-BEB8-55C29B1D191C}" dt="2026-05-12T20:16:28.717" v="1288" actId="47"/>
          <pc:sldLayoutMkLst>
            <pc:docMk/>
            <pc:sldMasterMk cId="4263587062" sldId="2147483662"/>
            <pc:sldLayoutMk cId="3544600454" sldId="2147483686"/>
          </pc:sldLayoutMkLst>
        </pc:sldLayoutChg>
      </pc:sldMaster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svg"/><Relationship Id="rId1" Type="http://schemas.openxmlformats.org/officeDocument/2006/relationships/image" Target="../media/image5.svg"/><Relationship Id="rId5" Type="http://schemas.openxmlformats.org/officeDocument/2006/relationships/image" Target="../media/image9.svg"/><Relationship Id="rId4" Type="http://schemas.openxmlformats.org/officeDocument/2006/relationships/image" Target="../media/image8.svg"/></Relationships>
</file>

<file path=ppt/diagrams/_rels/drawing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svg"/><Relationship Id="rId1" Type="http://schemas.openxmlformats.org/officeDocument/2006/relationships/image" Target="../media/image5.svg"/><Relationship Id="rId5" Type="http://schemas.openxmlformats.org/officeDocument/2006/relationships/image" Target="../media/image9.svg"/><Relationship Id="rId4" Type="http://schemas.openxmlformats.org/officeDocument/2006/relationships/image" Target="../media/image8.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1C8218-924D-4E4F-9DC7-98C00EA0DBB5}"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DF9041D3-8476-4DCD-8EEE-D6A7F4DBC358}">
      <dgm:prSet/>
      <dgm:spPr/>
      <dgm:t>
        <a:bodyPr/>
        <a:lstStyle/>
        <a:p>
          <a:pPr>
            <a:lnSpc>
              <a:spcPct val="100000"/>
            </a:lnSpc>
          </a:pPr>
          <a:r>
            <a:rPr lang="en-US" dirty="0"/>
            <a:t>Rising medical costs – hospital consolidation, pharmaceuticals, labor costs, etc.</a:t>
          </a:r>
        </a:p>
      </dgm:t>
    </dgm:pt>
    <dgm:pt modelId="{E12243CA-FC9E-4A3A-B733-D8897D500C3F}" type="parTrans" cxnId="{FE10D206-2C9B-4136-8F95-33BF2F0359F4}">
      <dgm:prSet/>
      <dgm:spPr/>
      <dgm:t>
        <a:bodyPr/>
        <a:lstStyle/>
        <a:p>
          <a:endParaRPr lang="en-US"/>
        </a:p>
      </dgm:t>
    </dgm:pt>
    <dgm:pt modelId="{0D61AA26-A6E7-4075-A0B1-949D4508C976}" type="sibTrans" cxnId="{FE10D206-2C9B-4136-8F95-33BF2F0359F4}">
      <dgm:prSet/>
      <dgm:spPr/>
      <dgm:t>
        <a:bodyPr/>
        <a:lstStyle/>
        <a:p>
          <a:endParaRPr lang="en-US"/>
        </a:p>
      </dgm:t>
    </dgm:pt>
    <dgm:pt modelId="{06D5BF4A-6969-4082-925E-D3E11622719A}">
      <dgm:prSet/>
      <dgm:spPr/>
      <dgm:t>
        <a:bodyPr/>
        <a:lstStyle/>
        <a:p>
          <a:pPr>
            <a:lnSpc>
              <a:spcPct val="100000"/>
            </a:lnSpc>
          </a:pPr>
          <a:r>
            <a:rPr lang="en-US"/>
            <a:t>Risk adjustment and v28</a:t>
          </a:r>
        </a:p>
      </dgm:t>
    </dgm:pt>
    <dgm:pt modelId="{7FC7C7B3-AE8B-4305-87EA-744A0271B83B}" type="parTrans" cxnId="{F18E2D36-D6B2-4C4F-B64F-3835D8867DFE}">
      <dgm:prSet/>
      <dgm:spPr/>
      <dgm:t>
        <a:bodyPr/>
        <a:lstStyle/>
        <a:p>
          <a:endParaRPr lang="en-US"/>
        </a:p>
      </dgm:t>
    </dgm:pt>
    <dgm:pt modelId="{AA5019D8-5AF0-4A17-937D-59CAD5B7B5BA}" type="sibTrans" cxnId="{F18E2D36-D6B2-4C4F-B64F-3835D8867DFE}">
      <dgm:prSet/>
      <dgm:spPr/>
      <dgm:t>
        <a:bodyPr/>
        <a:lstStyle/>
        <a:p>
          <a:endParaRPr lang="en-US"/>
        </a:p>
      </dgm:t>
    </dgm:pt>
    <dgm:pt modelId="{D42093EB-2DDA-4C26-B2D9-7F83A2A2FAAD}">
      <dgm:prSet/>
      <dgm:spPr/>
      <dgm:t>
        <a:bodyPr/>
        <a:lstStyle/>
        <a:p>
          <a:pPr>
            <a:lnSpc>
              <a:spcPct val="100000"/>
            </a:lnSpc>
          </a:pPr>
          <a:r>
            <a:rPr lang="en-US"/>
            <a:t>Exiting unprofitable markets</a:t>
          </a:r>
        </a:p>
      </dgm:t>
    </dgm:pt>
    <dgm:pt modelId="{281ACB75-2813-418B-AA1A-E87F0455E930}" type="parTrans" cxnId="{24CFAFD0-4F3E-41CE-B166-DC997692562B}">
      <dgm:prSet/>
      <dgm:spPr/>
      <dgm:t>
        <a:bodyPr/>
        <a:lstStyle/>
        <a:p>
          <a:endParaRPr lang="en-US"/>
        </a:p>
      </dgm:t>
    </dgm:pt>
    <dgm:pt modelId="{3CEB08F7-B693-4AF0-8A5C-A97601F7B2D3}" type="sibTrans" cxnId="{24CFAFD0-4F3E-41CE-B166-DC997692562B}">
      <dgm:prSet/>
      <dgm:spPr/>
      <dgm:t>
        <a:bodyPr/>
        <a:lstStyle/>
        <a:p>
          <a:endParaRPr lang="en-US"/>
        </a:p>
      </dgm:t>
    </dgm:pt>
    <dgm:pt modelId="{31752107-B552-4C17-9E2A-ED8E3D294F07}">
      <dgm:prSet/>
      <dgm:spPr/>
      <dgm:t>
        <a:bodyPr/>
        <a:lstStyle/>
        <a:p>
          <a:pPr>
            <a:lnSpc>
              <a:spcPct val="100000"/>
            </a:lnSpc>
          </a:pPr>
          <a:r>
            <a:rPr lang="en-US" dirty="0"/>
            <a:t>Reducing benefits for consumers and increased cost sharing</a:t>
          </a:r>
        </a:p>
      </dgm:t>
    </dgm:pt>
    <dgm:pt modelId="{60EE3DE4-29D4-4A9D-B3C9-FD63FB4DC2AA}" type="parTrans" cxnId="{E987D8C0-BA2D-46AB-9457-514E9D68C590}">
      <dgm:prSet/>
      <dgm:spPr/>
      <dgm:t>
        <a:bodyPr/>
        <a:lstStyle/>
        <a:p>
          <a:endParaRPr lang="en-US"/>
        </a:p>
      </dgm:t>
    </dgm:pt>
    <dgm:pt modelId="{9442DE6A-A1B1-4EC1-B77F-E8FF0061E2EE}" type="sibTrans" cxnId="{E987D8C0-BA2D-46AB-9457-514E9D68C590}">
      <dgm:prSet/>
      <dgm:spPr/>
      <dgm:t>
        <a:bodyPr/>
        <a:lstStyle/>
        <a:p>
          <a:endParaRPr lang="en-US"/>
        </a:p>
      </dgm:t>
    </dgm:pt>
    <dgm:pt modelId="{B2BF5B06-843E-4D06-BD1D-C1768F12C33A}">
      <dgm:prSet/>
      <dgm:spPr/>
      <dgm:t>
        <a:bodyPr/>
        <a:lstStyle/>
        <a:p>
          <a:pPr>
            <a:lnSpc>
              <a:spcPct val="100000"/>
            </a:lnSpc>
          </a:pPr>
          <a:r>
            <a:rPr lang="en-US" dirty="0"/>
            <a:t>Increased focus on global risk value-based care contracts</a:t>
          </a:r>
        </a:p>
      </dgm:t>
    </dgm:pt>
    <dgm:pt modelId="{49D083A2-92A3-4FA8-B5B7-2C4336B5CB8D}" type="parTrans" cxnId="{B0FCDB37-7060-47CF-9356-0462C84BBDAA}">
      <dgm:prSet/>
      <dgm:spPr/>
      <dgm:t>
        <a:bodyPr/>
        <a:lstStyle/>
        <a:p>
          <a:endParaRPr lang="en-US"/>
        </a:p>
      </dgm:t>
    </dgm:pt>
    <dgm:pt modelId="{2212C960-CFEF-4CCD-9E59-5BCCC0C63343}" type="sibTrans" cxnId="{B0FCDB37-7060-47CF-9356-0462C84BBDAA}">
      <dgm:prSet/>
      <dgm:spPr/>
      <dgm:t>
        <a:bodyPr/>
        <a:lstStyle/>
        <a:p>
          <a:endParaRPr lang="en-US"/>
        </a:p>
      </dgm:t>
    </dgm:pt>
    <dgm:pt modelId="{24AA024A-65F2-4725-A3D4-C580B2B41B4B}" type="pres">
      <dgm:prSet presAssocID="{681C8218-924D-4E4F-9DC7-98C00EA0DBB5}" presName="root" presStyleCnt="0">
        <dgm:presLayoutVars>
          <dgm:dir/>
          <dgm:resizeHandles val="exact"/>
        </dgm:presLayoutVars>
      </dgm:prSet>
      <dgm:spPr/>
    </dgm:pt>
    <dgm:pt modelId="{88C156DA-F5EC-440C-A5C6-FBE4267DAB55}" type="pres">
      <dgm:prSet presAssocID="{DF9041D3-8476-4DCD-8EEE-D6A7F4DBC358}" presName="compNode" presStyleCnt="0"/>
      <dgm:spPr/>
    </dgm:pt>
    <dgm:pt modelId="{27A5432A-567E-4E08-AF03-2728E262E562}" type="pres">
      <dgm:prSet presAssocID="{DF9041D3-8476-4DCD-8EEE-D6A7F4DBC358}" presName="bgRect" presStyleLbl="bgShp" presStyleIdx="0" presStyleCnt="5"/>
      <dgm:spPr/>
    </dgm:pt>
    <dgm:pt modelId="{38EA778C-6F3F-4067-96B0-C2A9041A043D}" type="pres">
      <dgm:prSet presAssocID="{DF9041D3-8476-4DCD-8EEE-D6A7F4DBC358}" presName="iconRect" presStyleLbl="node1" presStyleIdx="0"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a:noFill/>
        </a:ln>
      </dgm:spPr>
      <dgm:extLst>
        <a:ext uri="{E40237B7-FDA0-4F09-8148-C483321AD2D9}">
          <dgm14:cNvPr xmlns:dgm14="http://schemas.microsoft.com/office/drawing/2010/diagram" id="0" name="" descr="Medicine"/>
        </a:ext>
      </dgm:extLst>
    </dgm:pt>
    <dgm:pt modelId="{5B399D44-2617-4C9B-B174-CE8715358E2E}" type="pres">
      <dgm:prSet presAssocID="{DF9041D3-8476-4DCD-8EEE-D6A7F4DBC358}" presName="spaceRect" presStyleCnt="0"/>
      <dgm:spPr/>
    </dgm:pt>
    <dgm:pt modelId="{D36DCE2F-5F93-48EF-9EE6-85F90E11018D}" type="pres">
      <dgm:prSet presAssocID="{DF9041D3-8476-4DCD-8EEE-D6A7F4DBC358}" presName="parTx" presStyleLbl="revTx" presStyleIdx="0" presStyleCnt="5">
        <dgm:presLayoutVars>
          <dgm:chMax val="0"/>
          <dgm:chPref val="0"/>
        </dgm:presLayoutVars>
      </dgm:prSet>
      <dgm:spPr/>
    </dgm:pt>
    <dgm:pt modelId="{D0B15775-D3A7-411B-9469-BB0C8839AB2C}" type="pres">
      <dgm:prSet presAssocID="{0D61AA26-A6E7-4075-A0B1-949D4508C976}" presName="sibTrans" presStyleCnt="0"/>
      <dgm:spPr/>
    </dgm:pt>
    <dgm:pt modelId="{D2105265-8B81-4AB8-A03A-30D129187833}" type="pres">
      <dgm:prSet presAssocID="{06D5BF4A-6969-4082-925E-D3E11622719A}" presName="compNode" presStyleCnt="0"/>
      <dgm:spPr/>
    </dgm:pt>
    <dgm:pt modelId="{7321AECE-9AD4-4092-B95D-0705583366F7}" type="pres">
      <dgm:prSet presAssocID="{06D5BF4A-6969-4082-925E-D3E11622719A}" presName="bgRect" presStyleLbl="bgShp" presStyleIdx="1" presStyleCnt="5"/>
      <dgm:spPr/>
    </dgm:pt>
    <dgm:pt modelId="{2D9539C9-8B39-4D43-BD3E-F2C4A0F0BFBA}" type="pres">
      <dgm:prSet presAssocID="{06D5BF4A-6969-4082-925E-D3E11622719A}" presName="iconRect" presStyleLbl="node1" presStyleIdx="1"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Warning"/>
        </a:ext>
      </dgm:extLst>
    </dgm:pt>
    <dgm:pt modelId="{8018877C-BC49-4DEF-93B9-1F69D13E7812}" type="pres">
      <dgm:prSet presAssocID="{06D5BF4A-6969-4082-925E-D3E11622719A}" presName="spaceRect" presStyleCnt="0"/>
      <dgm:spPr/>
    </dgm:pt>
    <dgm:pt modelId="{09052A3A-0967-4B58-B884-308F99BEEC8E}" type="pres">
      <dgm:prSet presAssocID="{06D5BF4A-6969-4082-925E-D3E11622719A}" presName="parTx" presStyleLbl="revTx" presStyleIdx="1" presStyleCnt="5">
        <dgm:presLayoutVars>
          <dgm:chMax val="0"/>
          <dgm:chPref val="0"/>
        </dgm:presLayoutVars>
      </dgm:prSet>
      <dgm:spPr/>
    </dgm:pt>
    <dgm:pt modelId="{9FD876C2-8DC4-45AB-A7F3-02DC91FFEB46}" type="pres">
      <dgm:prSet presAssocID="{AA5019D8-5AF0-4A17-937D-59CAD5B7B5BA}" presName="sibTrans" presStyleCnt="0"/>
      <dgm:spPr/>
    </dgm:pt>
    <dgm:pt modelId="{55B3D238-213B-4058-A4FB-A46368F5C947}" type="pres">
      <dgm:prSet presAssocID="{D42093EB-2DDA-4C26-B2D9-7F83A2A2FAAD}" presName="compNode" presStyleCnt="0"/>
      <dgm:spPr/>
    </dgm:pt>
    <dgm:pt modelId="{F05C157D-18F3-4E55-BDD1-91C7B6A7F35C}" type="pres">
      <dgm:prSet presAssocID="{D42093EB-2DDA-4C26-B2D9-7F83A2A2FAAD}" presName="bgRect" presStyleLbl="bgShp" presStyleIdx="2" presStyleCnt="5"/>
      <dgm:spPr/>
    </dgm:pt>
    <dgm:pt modelId="{03A40388-895E-430E-B761-D319B7AC74D7}" type="pres">
      <dgm:prSet presAssocID="{D42093EB-2DDA-4C26-B2D9-7F83A2A2FAAD}" presName="iconRect" presStyleLbl="node1" presStyleIdx="2"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Factory"/>
        </a:ext>
      </dgm:extLst>
    </dgm:pt>
    <dgm:pt modelId="{92865F7B-1F01-42C1-91EC-0F7023C84EC2}" type="pres">
      <dgm:prSet presAssocID="{D42093EB-2DDA-4C26-B2D9-7F83A2A2FAAD}" presName="spaceRect" presStyleCnt="0"/>
      <dgm:spPr/>
    </dgm:pt>
    <dgm:pt modelId="{1B5D636D-C285-496E-B42F-695934B02866}" type="pres">
      <dgm:prSet presAssocID="{D42093EB-2DDA-4C26-B2D9-7F83A2A2FAAD}" presName="parTx" presStyleLbl="revTx" presStyleIdx="2" presStyleCnt="5">
        <dgm:presLayoutVars>
          <dgm:chMax val="0"/>
          <dgm:chPref val="0"/>
        </dgm:presLayoutVars>
      </dgm:prSet>
      <dgm:spPr/>
    </dgm:pt>
    <dgm:pt modelId="{E598D989-5429-442E-86B8-98DE6220C8ED}" type="pres">
      <dgm:prSet presAssocID="{3CEB08F7-B693-4AF0-8A5C-A97601F7B2D3}" presName="sibTrans" presStyleCnt="0"/>
      <dgm:spPr/>
    </dgm:pt>
    <dgm:pt modelId="{AA8AB0BB-F3D4-4693-B2C5-C974655DB05F}" type="pres">
      <dgm:prSet presAssocID="{31752107-B552-4C17-9E2A-ED8E3D294F07}" presName="compNode" presStyleCnt="0"/>
      <dgm:spPr/>
    </dgm:pt>
    <dgm:pt modelId="{D2113805-67AF-4DE3-AD4D-7D4339FA9CAB}" type="pres">
      <dgm:prSet presAssocID="{31752107-B552-4C17-9E2A-ED8E3D294F07}" presName="bgRect" presStyleLbl="bgShp" presStyleIdx="3" presStyleCnt="5"/>
      <dgm:spPr/>
    </dgm:pt>
    <dgm:pt modelId="{63D33A6D-1B75-4B98-B8CE-EE5B8F7CEED8}" type="pres">
      <dgm:prSet presAssocID="{31752107-B552-4C17-9E2A-ED8E3D294F07}" presName="iconRect" presStyleLbl="node1" presStyleIdx="3"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pward trend"/>
        </a:ext>
      </dgm:extLst>
    </dgm:pt>
    <dgm:pt modelId="{96686142-ECE5-40FE-B7DF-AFA12C68EC87}" type="pres">
      <dgm:prSet presAssocID="{31752107-B552-4C17-9E2A-ED8E3D294F07}" presName="spaceRect" presStyleCnt="0"/>
      <dgm:spPr/>
    </dgm:pt>
    <dgm:pt modelId="{7EC51BFE-091F-4067-9EF8-DDE50CA92138}" type="pres">
      <dgm:prSet presAssocID="{31752107-B552-4C17-9E2A-ED8E3D294F07}" presName="parTx" presStyleLbl="revTx" presStyleIdx="3" presStyleCnt="5">
        <dgm:presLayoutVars>
          <dgm:chMax val="0"/>
          <dgm:chPref val="0"/>
        </dgm:presLayoutVars>
      </dgm:prSet>
      <dgm:spPr/>
    </dgm:pt>
    <dgm:pt modelId="{553C30A8-0873-4FCC-888E-807FAC7D6748}" type="pres">
      <dgm:prSet presAssocID="{9442DE6A-A1B1-4EC1-B77F-E8FF0061E2EE}" presName="sibTrans" presStyleCnt="0"/>
      <dgm:spPr/>
    </dgm:pt>
    <dgm:pt modelId="{0008F42B-72A3-40F7-858B-87911B1FBD94}" type="pres">
      <dgm:prSet presAssocID="{B2BF5B06-843E-4D06-BD1D-C1768F12C33A}" presName="compNode" presStyleCnt="0"/>
      <dgm:spPr/>
    </dgm:pt>
    <dgm:pt modelId="{DF605391-0E91-4E92-B328-CBBE58A38046}" type="pres">
      <dgm:prSet presAssocID="{B2BF5B06-843E-4D06-BD1D-C1768F12C33A}" presName="bgRect" presStyleLbl="bgShp" presStyleIdx="4" presStyleCnt="5"/>
      <dgm:spPr/>
    </dgm:pt>
    <dgm:pt modelId="{5F5149DD-4699-4117-960E-A9CA74976C74}" type="pres">
      <dgm:prSet presAssocID="{B2BF5B06-843E-4D06-BD1D-C1768F12C33A}" presName="iconRect" presStyleLbl="node1" presStyleIdx="4"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Stethoscope"/>
        </a:ext>
      </dgm:extLst>
    </dgm:pt>
    <dgm:pt modelId="{7FCD0FE8-AD96-4FEB-9B3C-40CB0D5520E8}" type="pres">
      <dgm:prSet presAssocID="{B2BF5B06-843E-4D06-BD1D-C1768F12C33A}" presName="spaceRect" presStyleCnt="0"/>
      <dgm:spPr/>
    </dgm:pt>
    <dgm:pt modelId="{A34E6C78-21F9-4A1E-AC7B-8BA59E2C2E8A}" type="pres">
      <dgm:prSet presAssocID="{B2BF5B06-843E-4D06-BD1D-C1768F12C33A}" presName="parTx" presStyleLbl="revTx" presStyleIdx="4" presStyleCnt="5">
        <dgm:presLayoutVars>
          <dgm:chMax val="0"/>
          <dgm:chPref val="0"/>
        </dgm:presLayoutVars>
      </dgm:prSet>
      <dgm:spPr/>
    </dgm:pt>
  </dgm:ptLst>
  <dgm:cxnLst>
    <dgm:cxn modelId="{FE10D206-2C9B-4136-8F95-33BF2F0359F4}" srcId="{681C8218-924D-4E4F-9DC7-98C00EA0DBB5}" destId="{DF9041D3-8476-4DCD-8EEE-D6A7F4DBC358}" srcOrd="0" destOrd="0" parTransId="{E12243CA-FC9E-4A3A-B733-D8897D500C3F}" sibTransId="{0D61AA26-A6E7-4075-A0B1-949D4508C976}"/>
    <dgm:cxn modelId="{E159B11A-A44C-4FCB-9EB1-C9931E78A5D5}" type="presOf" srcId="{31752107-B552-4C17-9E2A-ED8E3D294F07}" destId="{7EC51BFE-091F-4067-9EF8-DDE50CA92138}" srcOrd="0" destOrd="0" presId="urn:microsoft.com/office/officeart/2018/2/layout/IconVerticalSolidList"/>
    <dgm:cxn modelId="{108F7524-B0AD-486E-B0F2-78318B31EB68}" type="presOf" srcId="{06D5BF4A-6969-4082-925E-D3E11622719A}" destId="{09052A3A-0967-4B58-B884-308F99BEEC8E}" srcOrd="0" destOrd="0" presId="urn:microsoft.com/office/officeart/2018/2/layout/IconVerticalSolidList"/>
    <dgm:cxn modelId="{4E2BF82B-C8B3-41F6-865F-691719D467AE}" type="presOf" srcId="{D42093EB-2DDA-4C26-B2D9-7F83A2A2FAAD}" destId="{1B5D636D-C285-496E-B42F-695934B02866}" srcOrd="0" destOrd="0" presId="urn:microsoft.com/office/officeart/2018/2/layout/IconVerticalSolidList"/>
    <dgm:cxn modelId="{F18E2D36-D6B2-4C4F-B64F-3835D8867DFE}" srcId="{681C8218-924D-4E4F-9DC7-98C00EA0DBB5}" destId="{06D5BF4A-6969-4082-925E-D3E11622719A}" srcOrd="1" destOrd="0" parTransId="{7FC7C7B3-AE8B-4305-87EA-744A0271B83B}" sibTransId="{AA5019D8-5AF0-4A17-937D-59CAD5B7B5BA}"/>
    <dgm:cxn modelId="{B0FCDB37-7060-47CF-9356-0462C84BBDAA}" srcId="{681C8218-924D-4E4F-9DC7-98C00EA0DBB5}" destId="{B2BF5B06-843E-4D06-BD1D-C1768F12C33A}" srcOrd="4" destOrd="0" parTransId="{49D083A2-92A3-4FA8-B5B7-2C4336B5CB8D}" sibTransId="{2212C960-CFEF-4CCD-9E59-5BCCC0C63343}"/>
    <dgm:cxn modelId="{696C773A-734C-4EF5-A19D-D39722CFC52B}" type="presOf" srcId="{681C8218-924D-4E4F-9DC7-98C00EA0DBB5}" destId="{24AA024A-65F2-4725-A3D4-C580B2B41B4B}" srcOrd="0" destOrd="0" presId="urn:microsoft.com/office/officeart/2018/2/layout/IconVerticalSolidList"/>
    <dgm:cxn modelId="{87150044-CB04-411C-AA87-DE6D08C8797A}" type="presOf" srcId="{B2BF5B06-843E-4D06-BD1D-C1768F12C33A}" destId="{A34E6C78-21F9-4A1E-AC7B-8BA59E2C2E8A}" srcOrd="0" destOrd="0" presId="urn:microsoft.com/office/officeart/2018/2/layout/IconVerticalSolidList"/>
    <dgm:cxn modelId="{E8B00AB9-010D-4565-B980-B068D86D616D}" type="presOf" srcId="{DF9041D3-8476-4DCD-8EEE-D6A7F4DBC358}" destId="{D36DCE2F-5F93-48EF-9EE6-85F90E11018D}" srcOrd="0" destOrd="0" presId="urn:microsoft.com/office/officeart/2018/2/layout/IconVerticalSolidList"/>
    <dgm:cxn modelId="{E987D8C0-BA2D-46AB-9457-514E9D68C590}" srcId="{681C8218-924D-4E4F-9DC7-98C00EA0DBB5}" destId="{31752107-B552-4C17-9E2A-ED8E3D294F07}" srcOrd="3" destOrd="0" parTransId="{60EE3DE4-29D4-4A9D-B3C9-FD63FB4DC2AA}" sibTransId="{9442DE6A-A1B1-4EC1-B77F-E8FF0061E2EE}"/>
    <dgm:cxn modelId="{24CFAFD0-4F3E-41CE-B166-DC997692562B}" srcId="{681C8218-924D-4E4F-9DC7-98C00EA0DBB5}" destId="{D42093EB-2DDA-4C26-B2D9-7F83A2A2FAAD}" srcOrd="2" destOrd="0" parTransId="{281ACB75-2813-418B-AA1A-E87F0455E930}" sibTransId="{3CEB08F7-B693-4AF0-8A5C-A97601F7B2D3}"/>
    <dgm:cxn modelId="{DFC38DC5-0D11-4518-AD9C-10198663AF04}" type="presParOf" srcId="{24AA024A-65F2-4725-A3D4-C580B2B41B4B}" destId="{88C156DA-F5EC-440C-A5C6-FBE4267DAB55}" srcOrd="0" destOrd="0" presId="urn:microsoft.com/office/officeart/2018/2/layout/IconVerticalSolidList"/>
    <dgm:cxn modelId="{FE21812A-E891-4ACF-BA3E-66D665F53D18}" type="presParOf" srcId="{88C156DA-F5EC-440C-A5C6-FBE4267DAB55}" destId="{27A5432A-567E-4E08-AF03-2728E262E562}" srcOrd="0" destOrd="0" presId="urn:microsoft.com/office/officeart/2018/2/layout/IconVerticalSolidList"/>
    <dgm:cxn modelId="{36A65789-4B9B-49F9-BFB3-7DB05FC39953}" type="presParOf" srcId="{88C156DA-F5EC-440C-A5C6-FBE4267DAB55}" destId="{38EA778C-6F3F-4067-96B0-C2A9041A043D}" srcOrd="1" destOrd="0" presId="urn:microsoft.com/office/officeart/2018/2/layout/IconVerticalSolidList"/>
    <dgm:cxn modelId="{B15F88C3-6549-4785-A13B-31EB85E9BC67}" type="presParOf" srcId="{88C156DA-F5EC-440C-A5C6-FBE4267DAB55}" destId="{5B399D44-2617-4C9B-B174-CE8715358E2E}" srcOrd="2" destOrd="0" presId="urn:microsoft.com/office/officeart/2018/2/layout/IconVerticalSolidList"/>
    <dgm:cxn modelId="{E3A2B996-201E-44F6-B13B-DCF5CC973E7F}" type="presParOf" srcId="{88C156DA-F5EC-440C-A5C6-FBE4267DAB55}" destId="{D36DCE2F-5F93-48EF-9EE6-85F90E11018D}" srcOrd="3" destOrd="0" presId="urn:microsoft.com/office/officeart/2018/2/layout/IconVerticalSolidList"/>
    <dgm:cxn modelId="{48D45D0A-8AEA-4FF4-B9CE-AEA3A9464BE7}" type="presParOf" srcId="{24AA024A-65F2-4725-A3D4-C580B2B41B4B}" destId="{D0B15775-D3A7-411B-9469-BB0C8839AB2C}" srcOrd="1" destOrd="0" presId="urn:microsoft.com/office/officeart/2018/2/layout/IconVerticalSolidList"/>
    <dgm:cxn modelId="{E4C51ED6-975D-4898-B61C-AD46F46009B1}" type="presParOf" srcId="{24AA024A-65F2-4725-A3D4-C580B2B41B4B}" destId="{D2105265-8B81-4AB8-A03A-30D129187833}" srcOrd="2" destOrd="0" presId="urn:microsoft.com/office/officeart/2018/2/layout/IconVerticalSolidList"/>
    <dgm:cxn modelId="{F41143C4-005A-4227-A300-2E1556B5FBB4}" type="presParOf" srcId="{D2105265-8B81-4AB8-A03A-30D129187833}" destId="{7321AECE-9AD4-4092-B95D-0705583366F7}" srcOrd="0" destOrd="0" presId="urn:microsoft.com/office/officeart/2018/2/layout/IconVerticalSolidList"/>
    <dgm:cxn modelId="{A3583FCA-F657-42DF-BD78-483BB6AA800B}" type="presParOf" srcId="{D2105265-8B81-4AB8-A03A-30D129187833}" destId="{2D9539C9-8B39-4D43-BD3E-F2C4A0F0BFBA}" srcOrd="1" destOrd="0" presId="urn:microsoft.com/office/officeart/2018/2/layout/IconVerticalSolidList"/>
    <dgm:cxn modelId="{AF97E681-8B28-4147-8B85-4441186F6ED7}" type="presParOf" srcId="{D2105265-8B81-4AB8-A03A-30D129187833}" destId="{8018877C-BC49-4DEF-93B9-1F69D13E7812}" srcOrd="2" destOrd="0" presId="urn:microsoft.com/office/officeart/2018/2/layout/IconVerticalSolidList"/>
    <dgm:cxn modelId="{DDDFB17D-6128-4068-98EF-8987EE6A73E3}" type="presParOf" srcId="{D2105265-8B81-4AB8-A03A-30D129187833}" destId="{09052A3A-0967-4B58-B884-308F99BEEC8E}" srcOrd="3" destOrd="0" presId="urn:microsoft.com/office/officeart/2018/2/layout/IconVerticalSolidList"/>
    <dgm:cxn modelId="{A452568B-FCB6-431B-9832-13F9E21EF53C}" type="presParOf" srcId="{24AA024A-65F2-4725-A3D4-C580B2B41B4B}" destId="{9FD876C2-8DC4-45AB-A7F3-02DC91FFEB46}" srcOrd="3" destOrd="0" presId="urn:microsoft.com/office/officeart/2018/2/layout/IconVerticalSolidList"/>
    <dgm:cxn modelId="{8D25A55C-766E-4489-8779-6DD581B00E2C}" type="presParOf" srcId="{24AA024A-65F2-4725-A3D4-C580B2B41B4B}" destId="{55B3D238-213B-4058-A4FB-A46368F5C947}" srcOrd="4" destOrd="0" presId="urn:microsoft.com/office/officeart/2018/2/layout/IconVerticalSolidList"/>
    <dgm:cxn modelId="{121A651D-7153-4FF3-ACAA-CF1EB0E5102C}" type="presParOf" srcId="{55B3D238-213B-4058-A4FB-A46368F5C947}" destId="{F05C157D-18F3-4E55-BDD1-91C7B6A7F35C}" srcOrd="0" destOrd="0" presId="urn:microsoft.com/office/officeart/2018/2/layout/IconVerticalSolidList"/>
    <dgm:cxn modelId="{A8E173F8-23FD-4958-83D4-D6ADABBF8ADF}" type="presParOf" srcId="{55B3D238-213B-4058-A4FB-A46368F5C947}" destId="{03A40388-895E-430E-B761-D319B7AC74D7}" srcOrd="1" destOrd="0" presId="urn:microsoft.com/office/officeart/2018/2/layout/IconVerticalSolidList"/>
    <dgm:cxn modelId="{1614346D-BDFA-42DE-BA5D-3A9F08419747}" type="presParOf" srcId="{55B3D238-213B-4058-A4FB-A46368F5C947}" destId="{92865F7B-1F01-42C1-91EC-0F7023C84EC2}" srcOrd="2" destOrd="0" presId="urn:microsoft.com/office/officeart/2018/2/layout/IconVerticalSolidList"/>
    <dgm:cxn modelId="{584FB20F-3E3B-4E80-AD8C-78B91B0790F4}" type="presParOf" srcId="{55B3D238-213B-4058-A4FB-A46368F5C947}" destId="{1B5D636D-C285-496E-B42F-695934B02866}" srcOrd="3" destOrd="0" presId="urn:microsoft.com/office/officeart/2018/2/layout/IconVerticalSolidList"/>
    <dgm:cxn modelId="{C068409A-4B35-4B92-8406-4853494C7AD5}" type="presParOf" srcId="{24AA024A-65F2-4725-A3D4-C580B2B41B4B}" destId="{E598D989-5429-442E-86B8-98DE6220C8ED}" srcOrd="5" destOrd="0" presId="urn:microsoft.com/office/officeart/2018/2/layout/IconVerticalSolidList"/>
    <dgm:cxn modelId="{B0D6C72B-3605-46FA-A6C9-DD2A1871B87D}" type="presParOf" srcId="{24AA024A-65F2-4725-A3D4-C580B2B41B4B}" destId="{AA8AB0BB-F3D4-4693-B2C5-C974655DB05F}" srcOrd="6" destOrd="0" presId="urn:microsoft.com/office/officeart/2018/2/layout/IconVerticalSolidList"/>
    <dgm:cxn modelId="{3A8C11F7-E67D-4BA0-ABFD-30C38753B740}" type="presParOf" srcId="{AA8AB0BB-F3D4-4693-B2C5-C974655DB05F}" destId="{D2113805-67AF-4DE3-AD4D-7D4339FA9CAB}" srcOrd="0" destOrd="0" presId="urn:microsoft.com/office/officeart/2018/2/layout/IconVerticalSolidList"/>
    <dgm:cxn modelId="{3F6C0491-26EB-4973-B3E6-569F91C1F4F8}" type="presParOf" srcId="{AA8AB0BB-F3D4-4693-B2C5-C974655DB05F}" destId="{63D33A6D-1B75-4B98-B8CE-EE5B8F7CEED8}" srcOrd="1" destOrd="0" presId="urn:microsoft.com/office/officeart/2018/2/layout/IconVerticalSolidList"/>
    <dgm:cxn modelId="{F0DADEBD-BB6A-413D-886D-43BA2DBB1B23}" type="presParOf" srcId="{AA8AB0BB-F3D4-4693-B2C5-C974655DB05F}" destId="{96686142-ECE5-40FE-B7DF-AFA12C68EC87}" srcOrd="2" destOrd="0" presId="urn:microsoft.com/office/officeart/2018/2/layout/IconVerticalSolidList"/>
    <dgm:cxn modelId="{24BF7E1C-7A39-40D7-B2D9-5E1D5277DDF0}" type="presParOf" srcId="{AA8AB0BB-F3D4-4693-B2C5-C974655DB05F}" destId="{7EC51BFE-091F-4067-9EF8-DDE50CA92138}" srcOrd="3" destOrd="0" presId="urn:microsoft.com/office/officeart/2018/2/layout/IconVerticalSolidList"/>
    <dgm:cxn modelId="{F40FF637-3EDC-4D62-A766-023C038A2389}" type="presParOf" srcId="{24AA024A-65F2-4725-A3D4-C580B2B41B4B}" destId="{553C30A8-0873-4FCC-888E-807FAC7D6748}" srcOrd="7" destOrd="0" presId="urn:microsoft.com/office/officeart/2018/2/layout/IconVerticalSolidList"/>
    <dgm:cxn modelId="{CC09420E-A254-42E8-B644-CAD5C0BA8C0A}" type="presParOf" srcId="{24AA024A-65F2-4725-A3D4-C580B2B41B4B}" destId="{0008F42B-72A3-40F7-858B-87911B1FBD94}" srcOrd="8" destOrd="0" presId="urn:microsoft.com/office/officeart/2018/2/layout/IconVerticalSolidList"/>
    <dgm:cxn modelId="{11B8C942-FF80-47C9-A4C4-7F9E1F521E77}" type="presParOf" srcId="{0008F42B-72A3-40F7-858B-87911B1FBD94}" destId="{DF605391-0E91-4E92-B328-CBBE58A38046}" srcOrd="0" destOrd="0" presId="urn:microsoft.com/office/officeart/2018/2/layout/IconVerticalSolidList"/>
    <dgm:cxn modelId="{06308BF5-E8BA-4B68-8519-20A463045FE9}" type="presParOf" srcId="{0008F42B-72A3-40F7-858B-87911B1FBD94}" destId="{5F5149DD-4699-4117-960E-A9CA74976C74}" srcOrd="1" destOrd="0" presId="urn:microsoft.com/office/officeart/2018/2/layout/IconVerticalSolidList"/>
    <dgm:cxn modelId="{DE18CF24-38EA-4AEC-B21B-1A98754501D8}" type="presParOf" srcId="{0008F42B-72A3-40F7-858B-87911B1FBD94}" destId="{7FCD0FE8-AD96-4FEB-9B3C-40CB0D5520E8}" srcOrd="2" destOrd="0" presId="urn:microsoft.com/office/officeart/2018/2/layout/IconVerticalSolidList"/>
    <dgm:cxn modelId="{0F4F6641-EDE1-4B06-A373-742A1278A391}" type="presParOf" srcId="{0008F42B-72A3-40F7-858B-87911B1FBD94}" destId="{A34E6C78-21F9-4A1E-AC7B-8BA59E2C2E8A}"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A5432A-567E-4E08-AF03-2728E262E562}">
      <dsp:nvSpPr>
        <dsp:cNvPr id="0" name=""/>
        <dsp:cNvSpPr/>
      </dsp:nvSpPr>
      <dsp:spPr>
        <a:xfrm>
          <a:off x="0" y="3070"/>
          <a:ext cx="9144000" cy="65399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8EA778C-6F3F-4067-96B0-C2A9041A043D}">
      <dsp:nvSpPr>
        <dsp:cNvPr id="0" name=""/>
        <dsp:cNvSpPr/>
      </dsp:nvSpPr>
      <dsp:spPr>
        <a:xfrm>
          <a:off x="197832" y="150218"/>
          <a:ext cx="359694" cy="359694"/>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36DCE2F-5F93-48EF-9EE6-85F90E11018D}">
      <dsp:nvSpPr>
        <dsp:cNvPr id="0" name=""/>
        <dsp:cNvSpPr/>
      </dsp:nvSpPr>
      <dsp:spPr>
        <a:xfrm>
          <a:off x="755359" y="3070"/>
          <a:ext cx="8388640" cy="653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14" tIns="69214" rIns="69214" bIns="69214" numCol="1" spcCol="1270" anchor="ctr" anchorCtr="0">
          <a:noAutofit/>
        </a:bodyPr>
        <a:lstStyle/>
        <a:p>
          <a:pPr marL="0" lvl="0" indent="0" algn="l" defTabSz="800100">
            <a:lnSpc>
              <a:spcPct val="100000"/>
            </a:lnSpc>
            <a:spcBef>
              <a:spcPct val="0"/>
            </a:spcBef>
            <a:spcAft>
              <a:spcPct val="35000"/>
            </a:spcAft>
            <a:buNone/>
          </a:pPr>
          <a:r>
            <a:rPr lang="en-US" sz="1800" kern="1200" dirty="0"/>
            <a:t>Rising medical costs – hospital consolidation, pharmaceuticals, labor costs, etc.</a:t>
          </a:r>
        </a:p>
      </dsp:txBody>
      <dsp:txXfrm>
        <a:off x="755359" y="3070"/>
        <a:ext cx="8388640" cy="653990"/>
      </dsp:txXfrm>
    </dsp:sp>
    <dsp:sp modelId="{7321AECE-9AD4-4092-B95D-0705583366F7}">
      <dsp:nvSpPr>
        <dsp:cNvPr id="0" name=""/>
        <dsp:cNvSpPr/>
      </dsp:nvSpPr>
      <dsp:spPr>
        <a:xfrm>
          <a:off x="0" y="820558"/>
          <a:ext cx="9144000" cy="65399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9539C9-8B39-4D43-BD3E-F2C4A0F0BFBA}">
      <dsp:nvSpPr>
        <dsp:cNvPr id="0" name=""/>
        <dsp:cNvSpPr/>
      </dsp:nvSpPr>
      <dsp:spPr>
        <a:xfrm>
          <a:off x="197832" y="967706"/>
          <a:ext cx="359694" cy="359694"/>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9052A3A-0967-4B58-B884-308F99BEEC8E}">
      <dsp:nvSpPr>
        <dsp:cNvPr id="0" name=""/>
        <dsp:cNvSpPr/>
      </dsp:nvSpPr>
      <dsp:spPr>
        <a:xfrm>
          <a:off x="755359" y="820558"/>
          <a:ext cx="8388640" cy="653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14" tIns="69214" rIns="69214" bIns="69214" numCol="1" spcCol="1270" anchor="ctr" anchorCtr="0">
          <a:noAutofit/>
        </a:bodyPr>
        <a:lstStyle/>
        <a:p>
          <a:pPr marL="0" lvl="0" indent="0" algn="l" defTabSz="800100">
            <a:lnSpc>
              <a:spcPct val="100000"/>
            </a:lnSpc>
            <a:spcBef>
              <a:spcPct val="0"/>
            </a:spcBef>
            <a:spcAft>
              <a:spcPct val="35000"/>
            </a:spcAft>
            <a:buNone/>
          </a:pPr>
          <a:r>
            <a:rPr lang="en-US" sz="1800" kern="1200"/>
            <a:t>Risk adjustment and v28</a:t>
          </a:r>
        </a:p>
      </dsp:txBody>
      <dsp:txXfrm>
        <a:off x="755359" y="820558"/>
        <a:ext cx="8388640" cy="653990"/>
      </dsp:txXfrm>
    </dsp:sp>
    <dsp:sp modelId="{F05C157D-18F3-4E55-BDD1-91C7B6A7F35C}">
      <dsp:nvSpPr>
        <dsp:cNvPr id="0" name=""/>
        <dsp:cNvSpPr/>
      </dsp:nvSpPr>
      <dsp:spPr>
        <a:xfrm>
          <a:off x="0" y="1638047"/>
          <a:ext cx="9144000" cy="65399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3A40388-895E-430E-B761-D319B7AC74D7}">
      <dsp:nvSpPr>
        <dsp:cNvPr id="0" name=""/>
        <dsp:cNvSpPr/>
      </dsp:nvSpPr>
      <dsp:spPr>
        <a:xfrm>
          <a:off x="197832" y="1785195"/>
          <a:ext cx="359694" cy="359694"/>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B5D636D-C285-496E-B42F-695934B02866}">
      <dsp:nvSpPr>
        <dsp:cNvPr id="0" name=""/>
        <dsp:cNvSpPr/>
      </dsp:nvSpPr>
      <dsp:spPr>
        <a:xfrm>
          <a:off x="755359" y="1638047"/>
          <a:ext cx="8388640" cy="653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14" tIns="69214" rIns="69214" bIns="69214" numCol="1" spcCol="1270" anchor="ctr" anchorCtr="0">
          <a:noAutofit/>
        </a:bodyPr>
        <a:lstStyle/>
        <a:p>
          <a:pPr marL="0" lvl="0" indent="0" algn="l" defTabSz="800100">
            <a:lnSpc>
              <a:spcPct val="100000"/>
            </a:lnSpc>
            <a:spcBef>
              <a:spcPct val="0"/>
            </a:spcBef>
            <a:spcAft>
              <a:spcPct val="35000"/>
            </a:spcAft>
            <a:buNone/>
          </a:pPr>
          <a:r>
            <a:rPr lang="en-US" sz="1800" kern="1200"/>
            <a:t>Exiting unprofitable markets</a:t>
          </a:r>
        </a:p>
      </dsp:txBody>
      <dsp:txXfrm>
        <a:off x="755359" y="1638047"/>
        <a:ext cx="8388640" cy="653990"/>
      </dsp:txXfrm>
    </dsp:sp>
    <dsp:sp modelId="{D2113805-67AF-4DE3-AD4D-7D4339FA9CAB}">
      <dsp:nvSpPr>
        <dsp:cNvPr id="0" name=""/>
        <dsp:cNvSpPr/>
      </dsp:nvSpPr>
      <dsp:spPr>
        <a:xfrm>
          <a:off x="0" y="2455535"/>
          <a:ext cx="9144000" cy="65399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3D33A6D-1B75-4B98-B8CE-EE5B8F7CEED8}">
      <dsp:nvSpPr>
        <dsp:cNvPr id="0" name=""/>
        <dsp:cNvSpPr/>
      </dsp:nvSpPr>
      <dsp:spPr>
        <a:xfrm>
          <a:off x="197832" y="2602683"/>
          <a:ext cx="359694" cy="359694"/>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EC51BFE-091F-4067-9EF8-DDE50CA92138}">
      <dsp:nvSpPr>
        <dsp:cNvPr id="0" name=""/>
        <dsp:cNvSpPr/>
      </dsp:nvSpPr>
      <dsp:spPr>
        <a:xfrm>
          <a:off x="755359" y="2455535"/>
          <a:ext cx="8388640" cy="653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14" tIns="69214" rIns="69214" bIns="69214" numCol="1" spcCol="1270" anchor="ctr" anchorCtr="0">
          <a:noAutofit/>
        </a:bodyPr>
        <a:lstStyle/>
        <a:p>
          <a:pPr marL="0" lvl="0" indent="0" algn="l" defTabSz="800100">
            <a:lnSpc>
              <a:spcPct val="100000"/>
            </a:lnSpc>
            <a:spcBef>
              <a:spcPct val="0"/>
            </a:spcBef>
            <a:spcAft>
              <a:spcPct val="35000"/>
            </a:spcAft>
            <a:buNone/>
          </a:pPr>
          <a:r>
            <a:rPr lang="en-US" sz="1800" kern="1200" dirty="0"/>
            <a:t>Reducing benefits for consumers and increased cost sharing</a:t>
          </a:r>
        </a:p>
      </dsp:txBody>
      <dsp:txXfrm>
        <a:off x="755359" y="2455535"/>
        <a:ext cx="8388640" cy="653990"/>
      </dsp:txXfrm>
    </dsp:sp>
    <dsp:sp modelId="{DF605391-0E91-4E92-B328-CBBE58A38046}">
      <dsp:nvSpPr>
        <dsp:cNvPr id="0" name=""/>
        <dsp:cNvSpPr/>
      </dsp:nvSpPr>
      <dsp:spPr>
        <a:xfrm>
          <a:off x="0" y="3273023"/>
          <a:ext cx="9144000" cy="65399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F5149DD-4699-4117-960E-A9CA74976C74}">
      <dsp:nvSpPr>
        <dsp:cNvPr id="0" name=""/>
        <dsp:cNvSpPr/>
      </dsp:nvSpPr>
      <dsp:spPr>
        <a:xfrm>
          <a:off x="197832" y="3420171"/>
          <a:ext cx="359694" cy="359694"/>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34E6C78-21F9-4A1E-AC7B-8BA59E2C2E8A}">
      <dsp:nvSpPr>
        <dsp:cNvPr id="0" name=""/>
        <dsp:cNvSpPr/>
      </dsp:nvSpPr>
      <dsp:spPr>
        <a:xfrm>
          <a:off x="755359" y="3273023"/>
          <a:ext cx="8388640" cy="653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14" tIns="69214" rIns="69214" bIns="69214" numCol="1" spcCol="1270" anchor="ctr" anchorCtr="0">
          <a:noAutofit/>
        </a:bodyPr>
        <a:lstStyle/>
        <a:p>
          <a:pPr marL="0" lvl="0" indent="0" algn="l" defTabSz="800100">
            <a:lnSpc>
              <a:spcPct val="100000"/>
            </a:lnSpc>
            <a:spcBef>
              <a:spcPct val="0"/>
            </a:spcBef>
            <a:spcAft>
              <a:spcPct val="35000"/>
            </a:spcAft>
            <a:buNone/>
          </a:pPr>
          <a:r>
            <a:rPr lang="en-US" sz="1800" kern="1200" dirty="0"/>
            <a:t>Increased focus on global risk value-based care contracts</a:t>
          </a:r>
        </a:p>
      </dsp:txBody>
      <dsp:txXfrm>
        <a:off x="755359" y="3273023"/>
        <a:ext cx="8388640" cy="65399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F15B5D-1F74-4B70-BC20-945014F8F52C}" type="datetimeFigureOut">
              <a:rPr lang="en-US" smtClean="0"/>
              <a:t>5/1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92CA3C-9046-43F3-8437-1A0AF57C44E2}" type="slidenum">
              <a:rPr lang="en-US" smtClean="0"/>
              <a:t>‹#›</a:t>
            </a:fld>
            <a:endParaRPr lang="en-US"/>
          </a:p>
        </p:txBody>
      </p:sp>
    </p:spTree>
    <p:extLst>
      <p:ext uri="{BB962C8B-B14F-4D97-AF65-F5344CB8AC3E}">
        <p14:creationId xmlns:p14="http://schemas.microsoft.com/office/powerpoint/2010/main" val="33174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7CFCC-8D03-B2AE-F6D0-15926E3E1E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8DCE6A-ABA1-2D8E-D52F-220440464A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A931D4-1A7F-5278-F00A-E046D4C09EF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1DC6F80-507B-217C-5ADD-7A32701E8E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92CA3C-9046-43F3-8437-1A0AF57C44E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593715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92CA3C-9046-43F3-8437-1A0AF57C44E2}" type="slidenum">
              <a:rPr lang="en-US" smtClean="0"/>
              <a:t>2</a:t>
            </a:fld>
            <a:endParaRPr lang="en-US"/>
          </a:p>
        </p:txBody>
      </p:sp>
    </p:spTree>
    <p:extLst>
      <p:ext uri="{BB962C8B-B14F-4D97-AF65-F5344CB8AC3E}">
        <p14:creationId xmlns:p14="http://schemas.microsoft.com/office/powerpoint/2010/main" val="1780512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92CA3C-9046-43F3-8437-1A0AF57C44E2}" type="slidenum">
              <a:rPr lang="en-US" smtClean="0"/>
              <a:t>4</a:t>
            </a:fld>
            <a:endParaRPr lang="en-US"/>
          </a:p>
        </p:txBody>
      </p:sp>
    </p:spTree>
    <p:extLst>
      <p:ext uri="{BB962C8B-B14F-4D97-AF65-F5344CB8AC3E}">
        <p14:creationId xmlns:p14="http://schemas.microsoft.com/office/powerpoint/2010/main" val="9894308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Master" Target="../slideMasters/slideMaster2.xml"/><Relationship Id="rId5" Type="http://schemas.openxmlformats.org/officeDocument/2006/relationships/tags" Target="../tags/tag10.xml"/><Relationship Id="rId4" Type="http://schemas.openxmlformats.org/officeDocument/2006/relationships/tags" Target="../tags/tag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AEC918-F3D4-0EA0-C655-45AEFD6F6AC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82E684A-9B1D-37D6-55DC-12FCEAF8C2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20B11EE-417A-3F20-9B38-32AF9803DABB}"/>
              </a:ext>
            </a:extLst>
          </p:cNvPr>
          <p:cNvSpPr>
            <a:spLocks noGrp="1"/>
          </p:cNvSpPr>
          <p:nvPr>
            <p:ph type="dt" sz="half" idx="10"/>
          </p:nvPr>
        </p:nvSpPr>
        <p:spPr/>
        <p:txBody>
          <a:bodyPr/>
          <a:lstStyle/>
          <a:p>
            <a:fld id="{6B91BDCC-EA19-4EAE-86C3-F532B4850D73}" type="datetimeFigureOut">
              <a:rPr lang="en-US" smtClean="0"/>
              <a:t>5/12/2026</a:t>
            </a:fld>
            <a:endParaRPr lang="en-US"/>
          </a:p>
        </p:txBody>
      </p:sp>
      <p:sp>
        <p:nvSpPr>
          <p:cNvPr id="5" name="Footer Placeholder 4">
            <a:extLst>
              <a:ext uri="{FF2B5EF4-FFF2-40B4-BE49-F238E27FC236}">
                <a16:creationId xmlns:a16="http://schemas.microsoft.com/office/drawing/2014/main" id="{6A3D44DD-14F5-3889-5D29-22B56E3859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60C4F5-9E59-F93C-C6A9-98A65D2C559F}"/>
              </a:ext>
            </a:extLst>
          </p:cNvPr>
          <p:cNvSpPr>
            <a:spLocks noGrp="1"/>
          </p:cNvSpPr>
          <p:nvPr>
            <p:ph type="sldNum" sz="quarter" idx="12"/>
          </p:nvPr>
        </p:nvSpPr>
        <p:spPr/>
        <p:txBody>
          <a:bodyPr/>
          <a:lstStyle/>
          <a:p>
            <a:fld id="{C899C487-A450-4E72-96E0-BDAE0EEB38C3}" type="slidenum">
              <a:rPr lang="en-US" smtClean="0"/>
              <a:t>‹#›</a:t>
            </a:fld>
            <a:endParaRPr lang="en-US"/>
          </a:p>
        </p:txBody>
      </p:sp>
    </p:spTree>
    <p:extLst>
      <p:ext uri="{BB962C8B-B14F-4D97-AF65-F5344CB8AC3E}">
        <p14:creationId xmlns:p14="http://schemas.microsoft.com/office/powerpoint/2010/main" val="14568213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C0500-D53C-958E-88E8-33BC337A16E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8882B35-9479-C275-8335-A9B5694F21F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2E6D2D-5507-4651-72CE-93302860D6BC}"/>
              </a:ext>
            </a:extLst>
          </p:cNvPr>
          <p:cNvSpPr>
            <a:spLocks noGrp="1"/>
          </p:cNvSpPr>
          <p:nvPr>
            <p:ph type="dt" sz="half" idx="10"/>
          </p:nvPr>
        </p:nvSpPr>
        <p:spPr/>
        <p:txBody>
          <a:bodyPr/>
          <a:lstStyle/>
          <a:p>
            <a:fld id="{6B91BDCC-EA19-4EAE-86C3-F532B4850D73}" type="datetimeFigureOut">
              <a:rPr lang="en-US" smtClean="0"/>
              <a:t>5/12/2026</a:t>
            </a:fld>
            <a:endParaRPr lang="en-US"/>
          </a:p>
        </p:txBody>
      </p:sp>
      <p:sp>
        <p:nvSpPr>
          <p:cNvPr id="5" name="Footer Placeholder 4">
            <a:extLst>
              <a:ext uri="{FF2B5EF4-FFF2-40B4-BE49-F238E27FC236}">
                <a16:creationId xmlns:a16="http://schemas.microsoft.com/office/drawing/2014/main" id="{B3CE0738-0BC3-C04D-D9CA-308F8D713A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CD6CF0-B726-E538-7749-D89AA78D227E}"/>
              </a:ext>
            </a:extLst>
          </p:cNvPr>
          <p:cNvSpPr>
            <a:spLocks noGrp="1"/>
          </p:cNvSpPr>
          <p:nvPr>
            <p:ph type="sldNum" sz="quarter" idx="12"/>
          </p:nvPr>
        </p:nvSpPr>
        <p:spPr/>
        <p:txBody>
          <a:bodyPr/>
          <a:lstStyle/>
          <a:p>
            <a:fld id="{C899C487-A450-4E72-96E0-BDAE0EEB38C3}" type="slidenum">
              <a:rPr lang="en-US" smtClean="0"/>
              <a:t>‹#›</a:t>
            </a:fld>
            <a:endParaRPr lang="en-US"/>
          </a:p>
        </p:txBody>
      </p:sp>
    </p:spTree>
    <p:extLst>
      <p:ext uri="{BB962C8B-B14F-4D97-AF65-F5344CB8AC3E}">
        <p14:creationId xmlns:p14="http://schemas.microsoft.com/office/powerpoint/2010/main" val="24767031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63C58FD-0385-D96D-57D1-25413185FB2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B7A521-5434-BB86-D542-3D8A16834C3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5B84C3-2729-7F00-4973-D541D49DDA7A}"/>
              </a:ext>
            </a:extLst>
          </p:cNvPr>
          <p:cNvSpPr>
            <a:spLocks noGrp="1"/>
          </p:cNvSpPr>
          <p:nvPr>
            <p:ph type="dt" sz="half" idx="10"/>
          </p:nvPr>
        </p:nvSpPr>
        <p:spPr/>
        <p:txBody>
          <a:bodyPr/>
          <a:lstStyle/>
          <a:p>
            <a:fld id="{6B91BDCC-EA19-4EAE-86C3-F532B4850D73}" type="datetimeFigureOut">
              <a:rPr lang="en-US" smtClean="0"/>
              <a:t>5/12/2026</a:t>
            </a:fld>
            <a:endParaRPr lang="en-US"/>
          </a:p>
        </p:txBody>
      </p:sp>
      <p:sp>
        <p:nvSpPr>
          <p:cNvPr id="5" name="Footer Placeholder 4">
            <a:extLst>
              <a:ext uri="{FF2B5EF4-FFF2-40B4-BE49-F238E27FC236}">
                <a16:creationId xmlns:a16="http://schemas.microsoft.com/office/drawing/2014/main" id="{2BE96685-B4E2-CB43-69E7-116457E370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9FC082-0C5B-830F-59D0-913B700DC64B}"/>
              </a:ext>
            </a:extLst>
          </p:cNvPr>
          <p:cNvSpPr>
            <a:spLocks noGrp="1"/>
          </p:cNvSpPr>
          <p:nvPr>
            <p:ph type="sldNum" sz="quarter" idx="12"/>
          </p:nvPr>
        </p:nvSpPr>
        <p:spPr/>
        <p:txBody>
          <a:bodyPr/>
          <a:lstStyle/>
          <a:p>
            <a:fld id="{C899C487-A450-4E72-96E0-BDAE0EEB38C3}" type="slidenum">
              <a:rPr lang="en-US" smtClean="0"/>
              <a:t>‹#›</a:t>
            </a:fld>
            <a:endParaRPr lang="en-US"/>
          </a:p>
        </p:txBody>
      </p:sp>
    </p:spTree>
    <p:extLst>
      <p:ext uri="{BB962C8B-B14F-4D97-AF65-F5344CB8AC3E}">
        <p14:creationId xmlns:p14="http://schemas.microsoft.com/office/powerpoint/2010/main" val="18102374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3357366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03">
    <p:bg>
      <p:bgRef idx="1001">
        <a:schemeClr val="bg1"/>
      </p:bgRef>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12/2026</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pic>
        <p:nvPicPr>
          <p:cNvPr id="3" name="Picture 2">
            <a:extLst>
              <a:ext uri="{FF2B5EF4-FFF2-40B4-BE49-F238E27FC236}">
                <a16:creationId xmlns:a16="http://schemas.microsoft.com/office/drawing/2014/main" id="{C337AFBD-8BB4-612A-0E02-A18D5FEF5A93}"/>
              </a:ext>
            </a:extLst>
          </p:cNvPr>
          <p:cNvPicPr>
            <a:picLocks noChangeAspect="1"/>
          </p:cNvPicPr>
          <p:nvPr userDrawn="1"/>
        </p:nvPicPr>
        <p:blipFill>
          <a:blip r:embed="rId4"/>
          <a:stretch>
            <a:fillRect/>
          </a:stretch>
        </p:blipFill>
        <p:spPr>
          <a:xfrm>
            <a:off x="463462" y="509425"/>
            <a:ext cx="4114800" cy="826265"/>
          </a:xfrm>
          <a:prstGeom prst="rect">
            <a:avLst/>
          </a:prstGeom>
        </p:spPr>
      </p:pic>
    </p:spTree>
    <p:custDataLst>
      <p:tags r:id="rId1"/>
    </p:custDataLst>
    <p:extLst>
      <p:ext uri="{BB962C8B-B14F-4D97-AF65-F5344CB8AC3E}">
        <p14:creationId xmlns:p14="http://schemas.microsoft.com/office/powerpoint/2010/main" val="13242005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18401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5/12/2026</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custDataLst>
      <p:tags r:id="rId1"/>
    </p:custDataLst>
    <p:extLst>
      <p:ext uri="{BB962C8B-B14F-4D97-AF65-F5344CB8AC3E}">
        <p14:creationId xmlns:p14="http://schemas.microsoft.com/office/powerpoint/2010/main" val="19289182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5/12/2026</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4395343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7800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5/12/2026</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custDataLst>
      <p:tags r:id="rId1"/>
    </p:custDataLst>
    <p:extLst>
      <p:ext uri="{BB962C8B-B14F-4D97-AF65-F5344CB8AC3E}">
        <p14:creationId xmlns:p14="http://schemas.microsoft.com/office/powerpoint/2010/main" val="91536302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5/12/2026</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67986361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00D1C-8C5D-6948-6350-23F6BF6B15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E6EE94-9CD9-D5DF-8050-05E35CB61E3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96F940-C507-FA02-7D33-FBAD9B5B0F2B}"/>
              </a:ext>
            </a:extLst>
          </p:cNvPr>
          <p:cNvSpPr>
            <a:spLocks noGrp="1"/>
          </p:cNvSpPr>
          <p:nvPr>
            <p:ph type="dt" sz="half" idx="10"/>
          </p:nvPr>
        </p:nvSpPr>
        <p:spPr/>
        <p:txBody>
          <a:bodyPr/>
          <a:lstStyle/>
          <a:p>
            <a:fld id="{6B91BDCC-EA19-4EAE-86C3-F532B4850D73}" type="datetimeFigureOut">
              <a:rPr lang="en-US" smtClean="0"/>
              <a:t>5/12/2026</a:t>
            </a:fld>
            <a:endParaRPr lang="en-US"/>
          </a:p>
        </p:txBody>
      </p:sp>
      <p:sp>
        <p:nvSpPr>
          <p:cNvPr id="5" name="Footer Placeholder 4">
            <a:extLst>
              <a:ext uri="{FF2B5EF4-FFF2-40B4-BE49-F238E27FC236}">
                <a16:creationId xmlns:a16="http://schemas.microsoft.com/office/drawing/2014/main" id="{3971295B-D77B-D00F-9EDC-5D8E76A5E4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7990DE-330A-1928-7695-281A161C9D00}"/>
              </a:ext>
            </a:extLst>
          </p:cNvPr>
          <p:cNvSpPr>
            <a:spLocks noGrp="1"/>
          </p:cNvSpPr>
          <p:nvPr>
            <p:ph type="sldNum" sz="quarter" idx="12"/>
          </p:nvPr>
        </p:nvSpPr>
        <p:spPr/>
        <p:txBody>
          <a:bodyPr/>
          <a:lstStyle/>
          <a:p>
            <a:fld id="{C899C487-A450-4E72-96E0-BDAE0EEB38C3}" type="slidenum">
              <a:rPr lang="en-US" smtClean="0"/>
              <a:t>‹#›</a:t>
            </a:fld>
            <a:endParaRPr lang="en-US"/>
          </a:p>
        </p:txBody>
      </p:sp>
    </p:spTree>
    <p:extLst>
      <p:ext uri="{BB962C8B-B14F-4D97-AF65-F5344CB8AC3E}">
        <p14:creationId xmlns:p14="http://schemas.microsoft.com/office/powerpoint/2010/main" val="7144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5/12/2026</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296467778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5/12/2026</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custDataLst>
      <p:tags r:id="rId1"/>
    </p:custDataLst>
    <p:extLst>
      <p:ext uri="{BB962C8B-B14F-4D97-AF65-F5344CB8AC3E}">
        <p14:creationId xmlns:p14="http://schemas.microsoft.com/office/powerpoint/2010/main" val="330767552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5/12/2026</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556441387"/>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21199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12/2026</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421447822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12/2026</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82024530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12/2026</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84020085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12/2026</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55965584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5/12/2026</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49479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5/12/2026</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75830414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100373-D207-9E4F-FCFA-E983EE0AC6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093D82-9B1E-0AB9-D2EE-9AD56E7894A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FA15EC1-3DB6-4595-BAB9-B88F2F94D6CC}"/>
              </a:ext>
            </a:extLst>
          </p:cNvPr>
          <p:cNvSpPr>
            <a:spLocks noGrp="1"/>
          </p:cNvSpPr>
          <p:nvPr>
            <p:ph type="dt" sz="half" idx="10"/>
          </p:nvPr>
        </p:nvSpPr>
        <p:spPr/>
        <p:txBody>
          <a:bodyPr/>
          <a:lstStyle/>
          <a:p>
            <a:fld id="{6B91BDCC-EA19-4EAE-86C3-F532B4850D73}" type="datetimeFigureOut">
              <a:rPr lang="en-US" smtClean="0"/>
              <a:t>5/12/2026</a:t>
            </a:fld>
            <a:endParaRPr lang="en-US"/>
          </a:p>
        </p:txBody>
      </p:sp>
      <p:sp>
        <p:nvSpPr>
          <p:cNvPr id="5" name="Footer Placeholder 4">
            <a:extLst>
              <a:ext uri="{FF2B5EF4-FFF2-40B4-BE49-F238E27FC236}">
                <a16:creationId xmlns:a16="http://schemas.microsoft.com/office/drawing/2014/main" id="{3990105F-673C-46C0-9D17-064986245D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3964F-00C0-9561-036D-9DDA893FBB1C}"/>
              </a:ext>
            </a:extLst>
          </p:cNvPr>
          <p:cNvSpPr>
            <a:spLocks noGrp="1"/>
          </p:cNvSpPr>
          <p:nvPr>
            <p:ph type="sldNum" sz="quarter" idx="12"/>
          </p:nvPr>
        </p:nvSpPr>
        <p:spPr/>
        <p:txBody>
          <a:bodyPr/>
          <a:lstStyle/>
          <a:p>
            <a:fld id="{C899C487-A450-4E72-96E0-BDAE0EEB38C3}" type="slidenum">
              <a:rPr lang="en-US" smtClean="0"/>
              <a:t>‹#›</a:t>
            </a:fld>
            <a:endParaRPr lang="en-US"/>
          </a:p>
        </p:txBody>
      </p:sp>
    </p:spTree>
    <p:extLst>
      <p:ext uri="{BB962C8B-B14F-4D97-AF65-F5344CB8AC3E}">
        <p14:creationId xmlns:p14="http://schemas.microsoft.com/office/powerpoint/2010/main" val="10669713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19021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1720111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3 Row Objectives">
    <p:spTree>
      <p:nvGrpSpPr>
        <p:cNvPr id="1" name=""/>
        <p:cNvGrpSpPr/>
        <p:nvPr/>
      </p:nvGrpSpPr>
      <p:grpSpPr>
        <a:xfrm>
          <a:off x="0" y="0"/>
          <a:ext cx="0" cy="0"/>
          <a:chOff x="0" y="0"/>
          <a:chExt cx="0" cy="0"/>
        </a:xfrm>
      </p:grpSpPr>
      <p:sp>
        <p:nvSpPr>
          <p:cNvPr id="9" name="Text 1"/>
          <p:cNvSpPr>
            <a:spLocks noGrp="1"/>
          </p:cNvSpPr>
          <p:nvPr>
            <p:ph type="body" sz="quarter" idx="18" hasCustomPrompt="1"/>
          </p:nvPr>
        </p:nvSpPr>
        <p:spPr bwMode="gray">
          <a:xfrm>
            <a:off x="495299" y="1862137"/>
            <a:ext cx="7132320" cy="128016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Level 1 text is 16pt Arial, hit return, then tab to get to level 2 — 14pt</a:t>
            </a:r>
          </a:p>
          <a:p>
            <a:pPr lvl="1"/>
            <a:r>
              <a:rPr lang="en-US"/>
              <a:t>Second level</a:t>
            </a:r>
          </a:p>
        </p:txBody>
      </p:sp>
      <p:sp>
        <p:nvSpPr>
          <p:cNvPr id="25" name="Text 2"/>
          <p:cNvSpPr>
            <a:spLocks noGrp="1"/>
          </p:cNvSpPr>
          <p:nvPr>
            <p:ph type="body" sz="quarter" idx="19" hasCustomPrompt="1"/>
          </p:nvPr>
        </p:nvSpPr>
        <p:spPr bwMode="gray">
          <a:xfrm>
            <a:off x="495299" y="3302317"/>
            <a:ext cx="7132320" cy="128016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Level 1 text is 16pt Arial, hit return, then tab to get to level 2 — 14pt</a:t>
            </a:r>
          </a:p>
          <a:p>
            <a:pPr lvl="1"/>
            <a:r>
              <a:rPr lang="en-US"/>
              <a:t>Second level</a:t>
            </a:r>
          </a:p>
        </p:txBody>
      </p:sp>
      <p:sp>
        <p:nvSpPr>
          <p:cNvPr id="26" name="Text 3"/>
          <p:cNvSpPr>
            <a:spLocks noGrp="1"/>
          </p:cNvSpPr>
          <p:nvPr>
            <p:ph type="body" sz="quarter" idx="20" hasCustomPrompt="1"/>
          </p:nvPr>
        </p:nvSpPr>
        <p:spPr bwMode="gray">
          <a:xfrm>
            <a:off x="495299" y="4742497"/>
            <a:ext cx="7132320" cy="128016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Level 1 text is 16pt Arial, hit return, then tab to get to level 2 — 14pt</a:t>
            </a:r>
          </a:p>
          <a:p>
            <a:pPr lvl="1"/>
            <a:r>
              <a:rPr lang="en-US"/>
              <a:t>Second level</a:t>
            </a:r>
          </a:p>
        </p:txBody>
      </p:sp>
      <p:sp>
        <p:nvSpPr>
          <p:cNvPr id="2" name="Title"/>
          <p:cNvSpPr>
            <a:spLocks noGrp="1"/>
          </p:cNvSpPr>
          <p:nvPr>
            <p:ph type="title" hasCustomPrompt="1"/>
          </p:nvPr>
        </p:nvSpPr>
        <p:spPr bwMode="gray"/>
        <p:txBody>
          <a:bodyPr/>
          <a:lstStyle>
            <a:lvl1pPr>
              <a:defRPr/>
            </a:lvl1pPr>
          </a:lstStyle>
          <a:p>
            <a:r>
              <a:rPr lang="en-US"/>
              <a:t>Objectives</a:t>
            </a:r>
          </a:p>
        </p:txBody>
      </p:sp>
      <p:sp>
        <p:nvSpPr>
          <p:cNvPr id="12" name="Rectangle 11" hidden="1"/>
          <p:cNvSpPr/>
          <p:nvPr userDrawn="1">
            <p:custDataLst>
              <p:tags r:id="rId2"/>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3" name="Rectangle 12" hidden="1"/>
          <p:cNvSpPr/>
          <p:nvPr userDrawn="1">
            <p:custDataLst>
              <p:tags r:id="rId3"/>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4" name="Rectangle 13" hidden="1"/>
          <p:cNvSpPr/>
          <p:nvPr userDrawn="1">
            <p:custDataLst>
              <p:tags r:id="rId4"/>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5" name="Rectangle 14" hidden="1"/>
          <p:cNvSpPr/>
          <p:nvPr userDrawn="1">
            <p:custDataLst>
              <p:tags r:id="rId5"/>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3" name="Date Placeholder 2"/>
          <p:cNvSpPr>
            <a:spLocks noGrp="1"/>
          </p:cNvSpPr>
          <p:nvPr>
            <p:ph type="dt" sz="half" idx="22"/>
          </p:nvPr>
        </p:nvSpPr>
        <p:spPr bwMode="gray"/>
        <p:txBody>
          <a:bodyPr/>
          <a:lstStyle/>
          <a:p>
            <a:fld id="{A2F0FB07-DE33-4F2E-A38A-914E4AF18D6C}" type="datetime1">
              <a:rPr lang="en-US" smtClean="0"/>
              <a:t>5/12/2026</a:t>
            </a:fld>
            <a:endParaRPr lang="en-US"/>
          </a:p>
        </p:txBody>
      </p:sp>
      <p:sp>
        <p:nvSpPr>
          <p:cNvPr id="10" name="Slide Number Placeholder 9"/>
          <p:cNvSpPr>
            <a:spLocks noGrp="1"/>
          </p:cNvSpPr>
          <p:nvPr>
            <p:ph type="sldNum" sz="quarter" idx="24"/>
          </p:nvPr>
        </p:nvSpPr>
        <p:spPr bwMode="gray"/>
        <p:txBody>
          <a:bodyPr/>
          <a:lstStyle/>
          <a:p>
            <a:fld id="{901F1369-4AEB-4520-96C0-9F78886180C1}" type="slidenum">
              <a:rPr lang="en-US" smtClean="0"/>
              <a:pPr/>
              <a:t>‹#›</a:t>
            </a:fld>
            <a:endParaRPr lang="en-US"/>
          </a:p>
        </p:txBody>
      </p:sp>
      <p:sp>
        <p:nvSpPr>
          <p:cNvPr id="17" name="Footer Placeholder 14">
            <a:extLst>
              <a:ext uri="{FF2B5EF4-FFF2-40B4-BE49-F238E27FC236}">
                <a16:creationId xmlns:a16="http://schemas.microsoft.com/office/drawing/2014/main" id="{C15634A4-816A-46E3-AC3C-30F1E1A6DBFF}"/>
              </a:ext>
            </a:extLst>
          </p:cNvPr>
          <p:cNvSpPr>
            <a:spLocks noGrp="1"/>
          </p:cNvSpPr>
          <p:nvPr>
            <p:ph type="ftr" sz="quarter" idx="11"/>
          </p:nvPr>
        </p:nvSpPr>
        <p:spPr bwMode="gray">
          <a:xfrm>
            <a:off x="3486259" y="6532532"/>
            <a:ext cx="5219483" cy="123111"/>
          </a:xfrm>
        </p:spPr>
        <p:txBody>
          <a:bodyPr/>
          <a:lstStyle/>
          <a:p>
            <a:pPr algn="r"/>
            <a:r>
              <a:rPr lang="en-US"/>
              <a:t>© 2021 Optum, Inc. All rights reserved. Do not distribute or reproduce without express permission from Optum.</a:t>
            </a:r>
          </a:p>
        </p:txBody>
      </p:sp>
    </p:spTree>
    <p:custDataLst>
      <p:tags r:id="rId1"/>
    </p:custDataLst>
    <p:extLst>
      <p:ext uri="{BB962C8B-B14F-4D97-AF65-F5344CB8AC3E}">
        <p14:creationId xmlns:p14="http://schemas.microsoft.com/office/powerpoint/2010/main" val="144912000"/>
      </p:ext>
    </p:extLst>
  </p:cSld>
  <p:clrMapOvr>
    <a:masterClrMapping/>
  </p:clrMapOvr>
  <p:extLst>
    <p:ext uri="{DCECCB84-F9BA-43D5-87BE-67443E8EF086}">
      <p15:sldGuideLst xmlns:p15="http://schemas.microsoft.com/office/powerpoint/2012/main">
        <p15:guide id="1" pos="4808">
          <p15:clr>
            <a:srgbClr val="FFC000"/>
          </p15:clr>
        </p15:guide>
        <p15:guide id="2" pos="4976">
          <p15:clr>
            <a:srgbClr val="FFC000"/>
          </p15:clr>
        </p15:guide>
        <p15:guide id="3" orient="horz" pos="664">
          <p15:clr>
            <a:srgbClr val="FFC000"/>
          </p15:clr>
        </p15:guide>
        <p15:guide id="4" orient="horz" pos="3792">
          <p15:clr>
            <a:srgbClr val="C35EA4"/>
          </p15:clr>
        </p15:guide>
        <p15:guide id="5" orient="horz" pos="720">
          <p15:clr>
            <a:srgbClr val="FFC00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4AF3409E-3206-964D-AB3D-5846739B2534}"/>
              </a:ext>
            </a:extLst>
          </p:cNvPr>
          <p:cNvSpPr>
            <a:spLocks noGrp="1"/>
          </p:cNvSpPr>
          <p:nvPr>
            <p:ph sz="quarter" idx="31" hasCustomPrompt="1"/>
          </p:nvPr>
        </p:nvSpPr>
        <p:spPr>
          <a:xfrm>
            <a:off x="380998" y="2330980"/>
            <a:ext cx="5600700" cy="3574521"/>
          </a:xfrm>
          <a:prstGeom prst="rect">
            <a:avLst/>
          </a:prstGeom>
          <a:solidFill>
            <a:schemeClr val="bg1">
              <a:lumMod val="95000"/>
              <a:alpha val="50000"/>
            </a:schemeClr>
          </a:solidFill>
        </p:spPr>
        <p:txBody>
          <a:bodyPr lIns="182880" tIns="182880" rIns="182880" bIns="182880"/>
          <a:lstStyle>
            <a:lvl1pPr>
              <a:spcAft>
                <a:spcPts val="500"/>
              </a:spcAft>
              <a:defRPr sz="1500"/>
            </a:lvl1pPr>
            <a:lvl2pPr marL="304788" indent="-190492">
              <a:spcBef>
                <a:spcPts val="0"/>
              </a:spcBef>
              <a:tabLst/>
              <a:defRPr sz="1500"/>
            </a:lvl2pPr>
            <a:lvl3pPr marL="533379" indent="-162713">
              <a:tabLst/>
              <a:defRPr sz="1500"/>
            </a:lvl3pPr>
            <a:lvl4pPr marL="761970" indent="-174618">
              <a:tabLst/>
              <a:defRPr sz="1500"/>
            </a:lvl4pPr>
            <a:lvl5pPr>
              <a:defRPr sz="1167"/>
            </a:lvl5pPr>
          </a:lstStyle>
          <a:p>
            <a:pPr lvl="0"/>
            <a:r>
              <a:rPr lang="en-US" dirty="0"/>
              <a:t>Click to add copy</a:t>
            </a:r>
          </a:p>
          <a:p>
            <a:pPr lvl="1"/>
            <a:r>
              <a:rPr lang="en-US" dirty="0"/>
              <a:t>Second level</a:t>
            </a:r>
          </a:p>
          <a:p>
            <a:pPr lvl="2"/>
            <a:r>
              <a:rPr lang="en-US" dirty="0"/>
              <a:t>Third level</a:t>
            </a:r>
          </a:p>
          <a:p>
            <a:pPr lvl="3"/>
            <a:r>
              <a:rPr lang="en-US" dirty="0"/>
              <a:t>Fourth level</a:t>
            </a:r>
          </a:p>
        </p:txBody>
      </p:sp>
      <p:sp>
        <p:nvSpPr>
          <p:cNvPr id="13" name="Content Placeholder 2">
            <a:extLst>
              <a:ext uri="{FF2B5EF4-FFF2-40B4-BE49-F238E27FC236}">
                <a16:creationId xmlns:a16="http://schemas.microsoft.com/office/drawing/2014/main" id="{E9826055-11F4-554A-B149-8D5AFC7C8A21}"/>
              </a:ext>
            </a:extLst>
          </p:cNvPr>
          <p:cNvSpPr>
            <a:spLocks noGrp="1"/>
          </p:cNvSpPr>
          <p:nvPr>
            <p:ph sz="quarter" idx="32" hasCustomPrompt="1"/>
          </p:nvPr>
        </p:nvSpPr>
        <p:spPr>
          <a:xfrm>
            <a:off x="6210300" y="2330980"/>
            <a:ext cx="5600700" cy="3574521"/>
          </a:xfrm>
          <a:prstGeom prst="rect">
            <a:avLst/>
          </a:prstGeom>
          <a:solidFill>
            <a:schemeClr val="bg1">
              <a:lumMod val="95000"/>
              <a:alpha val="50000"/>
            </a:schemeClr>
          </a:solidFill>
        </p:spPr>
        <p:txBody>
          <a:bodyPr lIns="182880" tIns="182880" rIns="182880" bIns="182880"/>
          <a:lstStyle>
            <a:lvl1pPr>
              <a:spcAft>
                <a:spcPts val="500"/>
              </a:spcAft>
              <a:defRPr sz="1500"/>
            </a:lvl1pPr>
            <a:lvl2pPr marL="304788" indent="-190492">
              <a:spcBef>
                <a:spcPts val="0"/>
              </a:spcBef>
              <a:tabLst/>
              <a:defRPr sz="1500"/>
            </a:lvl2pPr>
            <a:lvl3pPr marL="533379" indent="-162713">
              <a:tabLst/>
              <a:defRPr sz="1500"/>
            </a:lvl3pPr>
            <a:lvl4pPr marL="761970" indent="-174618">
              <a:tabLst/>
              <a:defRPr sz="1500"/>
            </a:lvl4pPr>
            <a:lvl5pPr>
              <a:defRPr sz="1167"/>
            </a:lvl5pPr>
          </a:lstStyle>
          <a:p>
            <a:pPr lvl="0"/>
            <a:r>
              <a:rPr lang="en-US" dirty="0"/>
              <a:t>Click to add copy</a:t>
            </a:r>
          </a:p>
          <a:p>
            <a:pPr lvl="1"/>
            <a:r>
              <a:rPr lang="en-US" dirty="0"/>
              <a:t>Second level</a:t>
            </a:r>
          </a:p>
          <a:p>
            <a:pPr lvl="2"/>
            <a:r>
              <a:rPr lang="en-US" dirty="0"/>
              <a:t>Third level</a:t>
            </a:r>
          </a:p>
          <a:p>
            <a:pPr lvl="3"/>
            <a:r>
              <a:rPr lang="en-US" dirty="0"/>
              <a:t>Fourth level</a:t>
            </a:r>
          </a:p>
        </p:txBody>
      </p:sp>
      <p:sp>
        <p:nvSpPr>
          <p:cNvPr id="14" name="Graphic Header 1">
            <a:extLst>
              <a:ext uri="{FF2B5EF4-FFF2-40B4-BE49-F238E27FC236}">
                <a16:creationId xmlns:a16="http://schemas.microsoft.com/office/drawing/2014/main" id="{EDA41548-3B6B-C243-8D54-F205A43C2344}"/>
              </a:ext>
            </a:extLst>
          </p:cNvPr>
          <p:cNvSpPr>
            <a:spLocks noGrp="1"/>
          </p:cNvSpPr>
          <p:nvPr>
            <p:ph type="body" sz="quarter" idx="14" hasCustomPrompt="1"/>
          </p:nvPr>
        </p:nvSpPr>
        <p:spPr>
          <a:xfrm>
            <a:off x="381000" y="1778001"/>
            <a:ext cx="5600700" cy="552979"/>
          </a:xfrm>
          <a:prstGeom prst="rect">
            <a:avLst/>
          </a:prstGeom>
          <a:solidFill>
            <a:schemeClr val="accent1"/>
          </a:solidFill>
          <a:ln>
            <a:noFill/>
          </a:ln>
        </p:spPr>
        <p:txBody>
          <a:bodyPr lIns="137160" anchor="ctr"/>
          <a:lstStyle>
            <a:lvl1pPr marL="0" indent="0" algn="l">
              <a:lnSpc>
                <a:spcPct val="90000"/>
              </a:lnSpc>
              <a:spcBef>
                <a:spcPts val="0"/>
              </a:spcBef>
              <a:spcAft>
                <a:spcPts val="0"/>
              </a:spcAft>
              <a:buNone/>
              <a:defRPr sz="1667">
                <a:solidFill>
                  <a:schemeClr val="bg1"/>
                </a:solidFill>
              </a:defRPr>
            </a:lvl1pPr>
          </a:lstStyle>
          <a:p>
            <a:pPr lvl="0"/>
            <a:r>
              <a:rPr lang="en-US" dirty="0"/>
              <a:t>Header</a:t>
            </a:r>
          </a:p>
        </p:txBody>
      </p:sp>
      <p:sp>
        <p:nvSpPr>
          <p:cNvPr id="45" name="Graphic Header 1">
            <a:extLst>
              <a:ext uri="{FF2B5EF4-FFF2-40B4-BE49-F238E27FC236}">
                <a16:creationId xmlns:a16="http://schemas.microsoft.com/office/drawing/2014/main" id="{783AF0F3-5B8D-5E42-8BD6-8956D14A4513}"/>
              </a:ext>
            </a:extLst>
          </p:cNvPr>
          <p:cNvSpPr>
            <a:spLocks noGrp="1"/>
          </p:cNvSpPr>
          <p:nvPr>
            <p:ph type="body" sz="quarter" idx="20" hasCustomPrompt="1"/>
          </p:nvPr>
        </p:nvSpPr>
        <p:spPr>
          <a:xfrm>
            <a:off x="6210300" y="1778001"/>
            <a:ext cx="5600700" cy="552979"/>
          </a:xfrm>
          <a:prstGeom prst="rect">
            <a:avLst/>
          </a:prstGeom>
          <a:solidFill>
            <a:schemeClr val="accent3"/>
          </a:solidFill>
          <a:ln>
            <a:noFill/>
          </a:ln>
        </p:spPr>
        <p:txBody>
          <a:bodyPr lIns="137160" anchor="ctr"/>
          <a:lstStyle>
            <a:lvl1pPr marL="0" indent="0" algn="l">
              <a:lnSpc>
                <a:spcPct val="90000"/>
              </a:lnSpc>
              <a:spcBef>
                <a:spcPts val="0"/>
              </a:spcBef>
              <a:spcAft>
                <a:spcPts val="0"/>
              </a:spcAft>
              <a:buNone/>
              <a:defRPr sz="1667">
                <a:solidFill>
                  <a:schemeClr val="bg1"/>
                </a:solidFill>
              </a:defRPr>
            </a:lvl1pPr>
          </a:lstStyle>
          <a:p>
            <a:pPr lvl="0"/>
            <a:r>
              <a:rPr lang="en-US" dirty="0"/>
              <a:t>Header</a:t>
            </a:r>
          </a:p>
        </p:txBody>
      </p:sp>
      <p:cxnSp>
        <p:nvCxnSpPr>
          <p:cNvPr id="16" name="Straight Connector 15">
            <a:extLst>
              <a:ext uri="{FF2B5EF4-FFF2-40B4-BE49-F238E27FC236}">
                <a16:creationId xmlns:a16="http://schemas.microsoft.com/office/drawing/2014/main" id="{8B3B6065-DDE8-1845-B35F-4DDA8F356020}"/>
              </a:ext>
            </a:extLst>
          </p:cNvPr>
          <p:cNvCxnSpPr>
            <a:cxnSpLocks/>
          </p:cNvCxnSpPr>
          <p:nvPr userDrawn="1"/>
        </p:nvCxnSpPr>
        <p:spPr>
          <a:xfrm>
            <a:off x="249925" y="1079500"/>
            <a:ext cx="11671111" cy="0"/>
          </a:xfrm>
          <a:prstGeom prst="line">
            <a:avLst/>
          </a:prstGeom>
          <a:ln>
            <a:solidFill>
              <a:srgbClr val="D0CECE"/>
            </a:solidFill>
          </a:ln>
        </p:spPr>
        <p:style>
          <a:lnRef idx="1">
            <a:schemeClr val="accent1"/>
          </a:lnRef>
          <a:fillRef idx="0">
            <a:schemeClr val="accent1"/>
          </a:fillRef>
          <a:effectRef idx="0">
            <a:schemeClr val="accent1"/>
          </a:effectRef>
          <a:fontRef idx="minor">
            <a:schemeClr val="tx1"/>
          </a:fontRef>
        </p:style>
      </p:cxnSp>
      <p:sp>
        <p:nvSpPr>
          <p:cNvPr id="9" name="Text Placeholder 20">
            <a:extLst>
              <a:ext uri="{FF2B5EF4-FFF2-40B4-BE49-F238E27FC236}">
                <a16:creationId xmlns:a16="http://schemas.microsoft.com/office/drawing/2014/main" id="{CE57047F-0F07-0948-BDFE-1628565320D9}"/>
              </a:ext>
            </a:extLst>
          </p:cNvPr>
          <p:cNvSpPr>
            <a:spLocks noGrp="1"/>
          </p:cNvSpPr>
          <p:nvPr>
            <p:ph type="body" sz="quarter" idx="11" hasCustomPrompt="1"/>
          </p:nvPr>
        </p:nvSpPr>
        <p:spPr>
          <a:xfrm>
            <a:off x="381000" y="1143000"/>
            <a:ext cx="11430000" cy="381000"/>
          </a:xfrm>
          <a:prstGeom prst="rect">
            <a:avLst/>
          </a:prstGeom>
        </p:spPr>
        <p:txBody>
          <a:bodyPr lIns="91440" rIns="91440">
            <a:noAutofit/>
          </a:bodyPr>
          <a:lstStyle>
            <a:lvl1pPr marL="0" indent="0">
              <a:buNone/>
              <a:defRPr sz="2167">
                <a:solidFill>
                  <a:schemeClr val="bg1">
                    <a:lumMod val="50000"/>
                  </a:schemeClr>
                </a:solidFill>
              </a:defRPr>
            </a:lvl1pPr>
          </a:lstStyle>
          <a:p>
            <a:pPr lvl="0"/>
            <a:r>
              <a:rPr lang="en-US" dirty="0"/>
              <a:t>Click to add subhead</a:t>
            </a:r>
          </a:p>
        </p:txBody>
      </p:sp>
      <p:sp>
        <p:nvSpPr>
          <p:cNvPr id="2" name="Title 1">
            <a:extLst>
              <a:ext uri="{FF2B5EF4-FFF2-40B4-BE49-F238E27FC236}">
                <a16:creationId xmlns:a16="http://schemas.microsoft.com/office/drawing/2014/main" id="{35FC6A12-ED1F-3847-9C1D-238A568A88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71651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5/12/2026</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8" name="Title 1">
            <a:extLst>
              <a:ext uri="{FF2B5EF4-FFF2-40B4-BE49-F238E27FC236}">
                <a16:creationId xmlns:a16="http://schemas.microsoft.com/office/drawing/2014/main" id="{C32A2750-B044-4181-9E6E-8443B914BF84}"/>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281663369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3579C-37AA-423C-0651-F92579EEEE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50A1E7-5588-29F2-174D-AB5AFA3C79E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41FAF23-FF75-4D44-5F34-E3A1882735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17CC9E0-52E3-0EE8-B6F1-0872246AEFDF}"/>
              </a:ext>
            </a:extLst>
          </p:cNvPr>
          <p:cNvSpPr>
            <a:spLocks noGrp="1"/>
          </p:cNvSpPr>
          <p:nvPr>
            <p:ph type="dt" sz="half" idx="10"/>
          </p:nvPr>
        </p:nvSpPr>
        <p:spPr/>
        <p:txBody>
          <a:bodyPr/>
          <a:lstStyle/>
          <a:p>
            <a:fld id="{6B91BDCC-EA19-4EAE-86C3-F532B4850D73}" type="datetimeFigureOut">
              <a:rPr lang="en-US" smtClean="0"/>
              <a:t>5/12/2026</a:t>
            </a:fld>
            <a:endParaRPr lang="en-US"/>
          </a:p>
        </p:txBody>
      </p:sp>
      <p:sp>
        <p:nvSpPr>
          <p:cNvPr id="6" name="Footer Placeholder 5">
            <a:extLst>
              <a:ext uri="{FF2B5EF4-FFF2-40B4-BE49-F238E27FC236}">
                <a16:creationId xmlns:a16="http://schemas.microsoft.com/office/drawing/2014/main" id="{7023A22A-01F1-234F-2FD0-10739E772A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0FC7FF1-F7DE-6E8C-EFA9-8CD320BD1B09}"/>
              </a:ext>
            </a:extLst>
          </p:cNvPr>
          <p:cNvSpPr>
            <a:spLocks noGrp="1"/>
          </p:cNvSpPr>
          <p:nvPr>
            <p:ph type="sldNum" sz="quarter" idx="12"/>
          </p:nvPr>
        </p:nvSpPr>
        <p:spPr/>
        <p:txBody>
          <a:bodyPr/>
          <a:lstStyle/>
          <a:p>
            <a:fld id="{C899C487-A450-4E72-96E0-BDAE0EEB38C3}" type="slidenum">
              <a:rPr lang="en-US" smtClean="0"/>
              <a:t>‹#›</a:t>
            </a:fld>
            <a:endParaRPr lang="en-US"/>
          </a:p>
        </p:txBody>
      </p:sp>
    </p:spTree>
    <p:extLst>
      <p:ext uri="{BB962C8B-B14F-4D97-AF65-F5344CB8AC3E}">
        <p14:creationId xmlns:p14="http://schemas.microsoft.com/office/powerpoint/2010/main" val="778478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6AC5F-DECD-19FF-72F3-DA524FF7EA1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1DBCF85-8037-ABF5-564D-97E5AED919B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5DE4F2-40E1-614F-F51B-696D8D035F7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14484CD-E95B-641F-9509-32E206E77B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BE78CE1-8B61-907B-AEC0-C1CB9164878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3E93E3A-6BFF-98BA-455C-1C659126839C}"/>
              </a:ext>
            </a:extLst>
          </p:cNvPr>
          <p:cNvSpPr>
            <a:spLocks noGrp="1"/>
          </p:cNvSpPr>
          <p:nvPr>
            <p:ph type="dt" sz="half" idx="10"/>
          </p:nvPr>
        </p:nvSpPr>
        <p:spPr/>
        <p:txBody>
          <a:bodyPr/>
          <a:lstStyle/>
          <a:p>
            <a:fld id="{6B91BDCC-EA19-4EAE-86C3-F532B4850D73}" type="datetimeFigureOut">
              <a:rPr lang="en-US" smtClean="0"/>
              <a:t>5/12/2026</a:t>
            </a:fld>
            <a:endParaRPr lang="en-US"/>
          </a:p>
        </p:txBody>
      </p:sp>
      <p:sp>
        <p:nvSpPr>
          <p:cNvPr id="8" name="Footer Placeholder 7">
            <a:extLst>
              <a:ext uri="{FF2B5EF4-FFF2-40B4-BE49-F238E27FC236}">
                <a16:creationId xmlns:a16="http://schemas.microsoft.com/office/drawing/2014/main" id="{CD71396B-0CCB-5B6E-FC42-3589220F25C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63FF61C-1EFA-1F9A-D499-1ED38079D975}"/>
              </a:ext>
            </a:extLst>
          </p:cNvPr>
          <p:cNvSpPr>
            <a:spLocks noGrp="1"/>
          </p:cNvSpPr>
          <p:nvPr>
            <p:ph type="sldNum" sz="quarter" idx="12"/>
          </p:nvPr>
        </p:nvSpPr>
        <p:spPr/>
        <p:txBody>
          <a:bodyPr/>
          <a:lstStyle/>
          <a:p>
            <a:fld id="{C899C487-A450-4E72-96E0-BDAE0EEB38C3}" type="slidenum">
              <a:rPr lang="en-US" smtClean="0"/>
              <a:t>‹#›</a:t>
            </a:fld>
            <a:endParaRPr lang="en-US"/>
          </a:p>
        </p:txBody>
      </p:sp>
    </p:spTree>
    <p:extLst>
      <p:ext uri="{BB962C8B-B14F-4D97-AF65-F5344CB8AC3E}">
        <p14:creationId xmlns:p14="http://schemas.microsoft.com/office/powerpoint/2010/main" val="464066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125BF-4837-AA3E-4335-05793BB091B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644A4D-F0A7-AEE6-B41B-795411DD4329}"/>
              </a:ext>
            </a:extLst>
          </p:cNvPr>
          <p:cNvSpPr>
            <a:spLocks noGrp="1"/>
          </p:cNvSpPr>
          <p:nvPr>
            <p:ph type="dt" sz="half" idx="10"/>
          </p:nvPr>
        </p:nvSpPr>
        <p:spPr/>
        <p:txBody>
          <a:bodyPr/>
          <a:lstStyle/>
          <a:p>
            <a:fld id="{6B91BDCC-EA19-4EAE-86C3-F532B4850D73}" type="datetimeFigureOut">
              <a:rPr lang="en-US" smtClean="0"/>
              <a:t>5/12/2026</a:t>
            </a:fld>
            <a:endParaRPr lang="en-US"/>
          </a:p>
        </p:txBody>
      </p:sp>
      <p:sp>
        <p:nvSpPr>
          <p:cNvPr id="4" name="Footer Placeholder 3">
            <a:extLst>
              <a:ext uri="{FF2B5EF4-FFF2-40B4-BE49-F238E27FC236}">
                <a16:creationId xmlns:a16="http://schemas.microsoft.com/office/drawing/2014/main" id="{EDF3D1F7-F6FE-CA0C-981C-3EDC49DEEF5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AF61D0-B2F9-B843-0780-F715FA37889E}"/>
              </a:ext>
            </a:extLst>
          </p:cNvPr>
          <p:cNvSpPr>
            <a:spLocks noGrp="1"/>
          </p:cNvSpPr>
          <p:nvPr>
            <p:ph type="sldNum" sz="quarter" idx="12"/>
          </p:nvPr>
        </p:nvSpPr>
        <p:spPr/>
        <p:txBody>
          <a:bodyPr/>
          <a:lstStyle/>
          <a:p>
            <a:fld id="{C899C487-A450-4E72-96E0-BDAE0EEB38C3}" type="slidenum">
              <a:rPr lang="en-US" smtClean="0"/>
              <a:t>‹#›</a:t>
            </a:fld>
            <a:endParaRPr lang="en-US"/>
          </a:p>
        </p:txBody>
      </p:sp>
    </p:spTree>
    <p:extLst>
      <p:ext uri="{BB962C8B-B14F-4D97-AF65-F5344CB8AC3E}">
        <p14:creationId xmlns:p14="http://schemas.microsoft.com/office/powerpoint/2010/main" val="23600669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1CF51C-BEC7-6AC1-1CCD-5B56BBFA35E1}"/>
              </a:ext>
            </a:extLst>
          </p:cNvPr>
          <p:cNvSpPr>
            <a:spLocks noGrp="1"/>
          </p:cNvSpPr>
          <p:nvPr>
            <p:ph type="dt" sz="half" idx="10"/>
          </p:nvPr>
        </p:nvSpPr>
        <p:spPr/>
        <p:txBody>
          <a:bodyPr/>
          <a:lstStyle/>
          <a:p>
            <a:fld id="{6B91BDCC-EA19-4EAE-86C3-F532B4850D73}" type="datetimeFigureOut">
              <a:rPr lang="en-US" smtClean="0"/>
              <a:t>5/12/2026</a:t>
            </a:fld>
            <a:endParaRPr lang="en-US"/>
          </a:p>
        </p:txBody>
      </p:sp>
      <p:sp>
        <p:nvSpPr>
          <p:cNvPr id="3" name="Footer Placeholder 2">
            <a:extLst>
              <a:ext uri="{FF2B5EF4-FFF2-40B4-BE49-F238E27FC236}">
                <a16:creationId xmlns:a16="http://schemas.microsoft.com/office/drawing/2014/main" id="{85482D58-5E9A-CA7C-8A8A-BD7D4CBF6F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A1CAEC8-9002-FC37-1AC5-2894AB12F183}"/>
              </a:ext>
            </a:extLst>
          </p:cNvPr>
          <p:cNvSpPr>
            <a:spLocks noGrp="1"/>
          </p:cNvSpPr>
          <p:nvPr>
            <p:ph type="sldNum" sz="quarter" idx="12"/>
          </p:nvPr>
        </p:nvSpPr>
        <p:spPr/>
        <p:txBody>
          <a:bodyPr/>
          <a:lstStyle/>
          <a:p>
            <a:fld id="{C899C487-A450-4E72-96E0-BDAE0EEB38C3}" type="slidenum">
              <a:rPr lang="en-US" smtClean="0"/>
              <a:t>‹#›</a:t>
            </a:fld>
            <a:endParaRPr lang="en-US"/>
          </a:p>
        </p:txBody>
      </p:sp>
    </p:spTree>
    <p:extLst>
      <p:ext uri="{BB962C8B-B14F-4D97-AF65-F5344CB8AC3E}">
        <p14:creationId xmlns:p14="http://schemas.microsoft.com/office/powerpoint/2010/main" val="3073156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615C6-870F-AE04-1A88-1C4D819B6F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FEB79DC-30F1-B258-9A17-E1076A952C6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E78BA48-1931-45AB-0CEC-59E53C2AF8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286CC23-4541-DF62-2B0C-D5907CFCB97D}"/>
              </a:ext>
            </a:extLst>
          </p:cNvPr>
          <p:cNvSpPr>
            <a:spLocks noGrp="1"/>
          </p:cNvSpPr>
          <p:nvPr>
            <p:ph type="dt" sz="half" idx="10"/>
          </p:nvPr>
        </p:nvSpPr>
        <p:spPr/>
        <p:txBody>
          <a:bodyPr/>
          <a:lstStyle/>
          <a:p>
            <a:fld id="{6B91BDCC-EA19-4EAE-86C3-F532B4850D73}" type="datetimeFigureOut">
              <a:rPr lang="en-US" smtClean="0"/>
              <a:t>5/12/2026</a:t>
            </a:fld>
            <a:endParaRPr lang="en-US"/>
          </a:p>
        </p:txBody>
      </p:sp>
      <p:sp>
        <p:nvSpPr>
          <p:cNvPr id="6" name="Footer Placeholder 5">
            <a:extLst>
              <a:ext uri="{FF2B5EF4-FFF2-40B4-BE49-F238E27FC236}">
                <a16:creationId xmlns:a16="http://schemas.microsoft.com/office/drawing/2014/main" id="{7EE3FC81-B48A-6CF7-3ACE-B36054BE53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BC7E50-0F1B-2418-94EB-F0539FD6FB0F}"/>
              </a:ext>
            </a:extLst>
          </p:cNvPr>
          <p:cNvSpPr>
            <a:spLocks noGrp="1"/>
          </p:cNvSpPr>
          <p:nvPr>
            <p:ph type="sldNum" sz="quarter" idx="12"/>
          </p:nvPr>
        </p:nvSpPr>
        <p:spPr/>
        <p:txBody>
          <a:bodyPr/>
          <a:lstStyle/>
          <a:p>
            <a:fld id="{C899C487-A450-4E72-96E0-BDAE0EEB38C3}" type="slidenum">
              <a:rPr lang="en-US" smtClean="0"/>
              <a:t>‹#›</a:t>
            </a:fld>
            <a:endParaRPr lang="en-US"/>
          </a:p>
        </p:txBody>
      </p:sp>
    </p:spTree>
    <p:extLst>
      <p:ext uri="{BB962C8B-B14F-4D97-AF65-F5344CB8AC3E}">
        <p14:creationId xmlns:p14="http://schemas.microsoft.com/office/powerpoint/2010/main" val="6008344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B6AAA-DB7C-E911-8F82-E26FD662975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E517DC0-529F-76B6-56AE-0BD26CFC734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9469AD-5CED-AE07-2FBB-B5C9252CBB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C8B6B4E-3A9F-12B8-947B-EDF74C180F79}"/>
              </a:ext>
            </a:extLst>
          </p:cNvPr>
          <p:cNvSpPr>
            <a:spLocks noGrp="1"/>
          </p:cNvSpPr>
          <p:nvPr>
            <p:ph type="dt" sz="half" idx="10"/>
          </p:nvPr>
        </p:nvSpPr>
        <p:spPr/>
        <p:txBody>
          <a:bodyPr/>
          <a:lstStyle/>
          <a:p>
            <a:fld id="{6B91BDCC-EA19-4EAE-86C3-F532B4850D73}" type="datetimeFigureOut">
              <a:rPr lang="en-US" smtClean="0"/>
              <a:t>5/12/2026</a:t>
            </a:fld>
            <a:endParaRPr lang="en-US"/>
          </a:p>
        </p:txBody>
      </p:sp>
      <p:sp>
        <p:nvSpPr>
          <p:cNvPr id="6" name="Footer Placeholder 5">
            <a:extLst>
              <a:ext uri="{FF2B5EF4-FFF2-40B4-BE49-F238E27FC236}">
                <a16:creationId xmlns:a16="http://schemas.microsoft.com/office/drawing/2014/main" id="{74B84483-0E1C-5529-34E6-5CBB0A7DD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B24075-C2E7-6C0B-54D6-2E07406A2A91}"/>
              </a:ext>
            </a:extLst>
          </p:cNvPr>
          <p:cNvSpPr>
            <a:spLocks noGrp="1"/>
          </p:cNvSpPr>
          <p:nvPr>
            <p:ph type="sldNum" sz="quarter" idx="12"/>
          </p:nvPr>
        </p:nvSpPr>
        <p:spPr/>
        <p:txBody>
          <a:bodyPr/>
          <a:lstStyle/>
          <a:p>
            <a:fld id="{C899C487-A450-4E72-96E0-BDAE0EEB38C3}" type="slidenum">
              <a:rPr lang="en-US" smtClean="0"/>
              <a:t>‹#›</a:t>
            </a:fld>
            <a:endParaRPr lang="en-US"/>
          </a:p>
        </p:txBody>
      </p:sp>
    </p:spTree>
    <p:extLst>
      <p:ext uri="{BB962C8B-B14F-4D97-AF65-F5344CB8AC3E}">
        <p14:creationId xmlns:p14="http://schemas.microsoft.com/office/powerpoint/2010/main" val="4008431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8A48F0B-08AE-D42B-1CF9-0CB8AF0F15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12934D5-5EA7-0094-DDE7-2FD8C94EB9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A1082B-9368-8E2F-B2FA-B70B1D52E83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B91BDCC-EA19-4EAE-86C3-F532B4850D73}" type="datetimeFigureOut">
              <a:rPr lang="en-US" smtClean="0"/>
              <a:t>5/12/2026</a:t>
            </a:fld>
            <a:endParaRPr lang="en-US"/>
          </a:p>
        </p:txBody>
      </p:sp>
      <p:sp>
        <p:nvSpPr>
          <p:cNvPr id="5" name="Footer Placeholder 4">
            <a:extLst>
              <a:ext uri="{FF2B5EF4-FFF2-40B4-BE49-F238E27FC236}">
                <a16:creationId xmlns:a16="http://schemas.microsoft.com/office/drawing/2014/main" id="{E90610D1-9675-9E16-97BC-AAA27B7D1BB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8A126B7B-D60D-57C5-15DD-6FA944EC97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899C487-A450-4E72-96E0-BDAE0EEB38C3}" type="slidenum">
              <a:rPr lang="en-US" smtClean="0"/>
              <a:t>‹#›</a:t>
            </a:fld>
            <a:endParaRPr lang="en-US"/>
          </a:p>
        </p:txBody>
      </p:sp>
    </p:spTree>
    <p:extLst>
      <p:ext uri="{BB962C8B-B14F-4D97-AF65-F5344CB8AC3E}">
        <p14:creationId xmlns:p14="http://schemas.microsoft.com/office/powerpoint/2010/main" val="22756468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5/12/2026</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dirty="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Tree>
    <p:custDataLst>
      <p:tags r:id="rId25"/>
    </p:custDataLst>
    <p:extLst>
      <p:ext uri="{BB962C8B-B14F-4D97-AF65-F5344CB8AC3E}">
        <p14:creationId xmlns:p14="http://schemas.microsoft.com/office/powerpoint/2010/main" val="4263587062"/>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3D1B585-7DA0-336C-E393-D3BB46BE3E93}"/>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3AE5151C-EF0C-450A-5823-1F725F12CF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67EBF5C8-1DA6-22B2-7147-5E69577F15E7}"/>
              </a:ext>
            </a:extLst>
          </p:cNvPr>
          <p:cNvSpPr>
            <a:spLocks noGrp="1"/>
          </p:cNvSpPr>
          <p:nvPr>
            <p:ph type="ctrTitle"/>
          </p:nvPr>
        </p:nvSpPr>
        <p:spPr>
          <a:xfrm>
            <a:off x="3880430" y="583345"/>
            <a:ext cx="7160357" cy="4164820"/>
          </a:xfrm>
        </p:spPr>
        <p:txBody>
          <a:bodyPr anchor="t">
            <a:normAutofit/>
          </a:bodyPr>
          <a:lstStyle/>
          <a:p>
            <a:pPr algn="r"/>
            <a:r>
              <a:rPr lang="en-US" dirty="0">
                <a:solidFill>
                  <a:srgbClr val="FFFFFF"/>
                </a:solidFill>
              </a:rPr>
              <a:t>Payer perspective on Primary Care</a:t>
            </a:r>
          </a:p>
        </p:txBody>
      </p:sp>
      <p:sp>
        <p:nvSpPr>
          <p:cNvPr id="3" name="Subtitle 2">
            <a:extLst>
              <a:ext uri="{FF2B5EF4-FFF2-40B4-BE49-F238E27FC236}">
                <a16:creationId xmlns:a16="http://schemas.microsoft.com/office/drawing/2014/main" id="{99FD149E-B3A4-21EC-60F5-C2DBAEBDAE9F}"/>
              </a:ext>
            </a:extLst>
          </p:cNvPr>
          <p:cNvSpPr>
            <a:spLocks noGrp="1"/>
          </p:cNvSpPr>
          <p:nvPr>
            <p:ph type="subTitle" idx="1"/>
          </p:nvPr>
        </p:nvSpPr>
        <p:spPr>
          <a:xfrm>
            <a:off x="1208228" y="5972174"/>
            <a:ext cx="8578699" cy="504825"/>
          </a:xfrm>
        </p:spPr>
        <p:txBody>
          <a:bodyPr>
            <a:normAutofit/>
          </a:bodyPr>
          <a:lstStyle/>
          <a:p>
            <a:pPr algn="l"/>
            <a:r>
              <a:rPr lang="en-US" sz="2000" dirty="0">
                <a:solidFill>
                  <a:srgbClr val="FFFFFF"/>
                </a:solidFill>
              </a:rPr>
              <a:t>May 2026</a:t>
            </a:r>
          </a:p>
        </p:txBody>
      </p:sp>
      <p:sp>
        <p:nvSpPr>
          <p:cNvPr id="10" name="Graphic 13">
            <a:extLst>
              <a:ext uri="{FF2B5EF4-FFF2-40B4-BE49-F238E27FC236}">
                <a16:creationId xmlns:a16="http://schemas.microsoft.com/office/drawing/2014/main" id="{B697E0EA-50CA-9590-4D1A-55BFB7F377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4359" y="583345"/>
            <a:ext cx="139039" cy="139039"/>
          </a:xfrm>
          <a:custGeom>
            <a:avLst/>
            <a:gdLst>
              <a:gd name="connsiteX0" fmla="*/ 129602 w 139039"/>
              <a:gd name="connsiteY0" fmla="*/ 60082 h 139039"/>
              <a:gd name="connsiteX1" fmla="*/ 78957 w 139039"/>
              <a:gd name="connsiteY1" fmla="*/ 60082 h 139039"/>
              <a:gd name="connsiteX2" fmla="*/ 78957 w 139039"/>
              <a:gd name="connsiteY2" fmla="*/ 9437 h 139039"/>
              <a:gd name="connsiteX3" fmla="*/ 69520 w 139039"/>
              <a:gd name="connsiteY3" fmla="*/ 0 h 139039"/>
              <a:gd name="connsiteX4" fmla="*/ 60082 w 139039"/>
              <a:gd name="connsiteY4" fmla="*/ 9437 h 139039"/>
              <a:gd name="connsiteX5" fmla="*/ 60082 w 139039"/>
              <a:gd name="connsiteY5" fmla="*/ 60082 h 139039"/>
              <a:gd name="connsiteX6" fmla="*/ 9437 w 139039"/>
              <a:gd name="connsiteY6" fmla="*/ 60082 h 139039"/>
              <a:gd name="connsiteX7" fmla="*/ 0 w 139039"/>
              <a:gd name="connsiteY7" fmla="*/ 69520 h 139039"/>
              <a:gd name="connsiteX8" fmla="*/ 9437 w 139039"/>
              <a:gd name="connsiteY8" fmla="*/ 78957 h 139039"/>
              <a:gd name="connsiteX9" fmla="*/ 60082 w 139039"/>
              <a:gd name="connsiteY9" fmla="*/ 78957 h 139039"/>
              <a:gd name="connsiteX10" fmla="*/ 60082 w 139039"/>
              <a:gd name="connsiteY10" fmla="*/ 129602 h 139039"/>
              <a:gd name="connsiteX11" fmla="*/ 69520 w 139039"/>
              <a:gd name="connsiteY11" fmla="*/ 139039 h 139039"/>
              <a:gd name="connsiteX12" fmla="*/ 78957 w 139039"/>
              <a:gd name="connsiteY12" fmla="*/ 129602 h 139039"/>
              <a:gd name="connsiteX13" fmla="*/ 78957 w 139039"/>
              <a:gd name="connsiteY13" fmla="*/ 78957 h 139039"/>
              <a:gd name="connsiteX14" fmla="*/ 129602 w 139039"/>
              <a:gd name="connsiteY14" fmla="*/ 78957 h 139039"/>
              <a:gd name="connsiteX15" fmla="*/ 139039 w 139039"/>
              <a:gd name="connsiteY15" fmla="*/ 69520 h 139039"/>
              <a:gd name="connsiteX16" fmla="*/ 129602 w 139039"/>
              <a:gd name="connsiteY16" fmla="*/ 60082 h 13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039" h="139039">
                <a:moveTo>
                  <a:pt x="129602" y="60082"/>
                </a:moveTo>
                <a:lnTo>
                  <a:pt x="78957" y="60082"/>
                </a:lnTo>
                <a:lnTo>
                  <a:pt x="78957" y="9437"/>
                </a:lnTo>
                <a:cubicBezTo>
                  <a:pt x="78957" y="4225"/>
                  <a:pt x="74731" y="0"/>
                  <a:pt x="69520" y="0"/>
                </a:cubicBezTo>
                <a:cubicBezTo>
                  <a:pt x="64308" y="0"/>
                  <a:pt x="60082" y="4225"/>
                  <a:pt x="60082" y="9437"/>
                </a:cubicBezTo>
                <a:lnTo>
                  <a:pt x="60082" y="60082"/>
                </a:lnTo>
                <a:lnTo>
                  <a:pt x="9437" y="60082"/>
                </a:lnTo>
                <a:cubicBezTo>
                  <a:pt x="4225" y="60082"/>
                  <a:pt x="0" y="64308"/>
                  <a:pt x="0" y="69520"/>
                </a:cubicBezTo>
                <a:cubicBezTo>
                  <a:pt x="0" y="74731"/>
                  <a:pt x="4225" y="78957"/>
                  <a:pt x="9437" y="78957"/>
                </a:cubicBezTo>
                <a:lnTo>
                  <a:pt x="60082" y="78957"/>
                </a:lnTo>
                <a:lnTo>
                  <a:pt x="60082" y="129602"/>
                </a:lnTo>
                <a:cubicBezTo>
                  <a:pt x="60082" y="134814"/>
                  <a:pt x="64308" y="139039"/>
                  <a:pt x="69520" y="139039"/>
                </a:cubicBezTo>
                <a:cubicBezTo>
                  <a:pt x="74731" y="139039"/>
                  <a:pt x="78957" y="134814"/>
                  <a:pt x="78957" y="129602"/>
                </a:cubicBezTo>
                <a:lnTo>
                  <a:pt x="78957" y="78957"/>
                </a:lnTo>
                <a:lnTo>
                  <a:pt x="129602" y="78957"/>
                </a:lnTo>
                <a:cubicBezTo>
                  <a:pt x="134814" y="78957"/>
                  <a:pt x="139039" y="74731"/>
                  <a:pt x="139039" y="69520"/>
                </a:cubicBezTo>
                <a:cubicBezTo>
                  <a:pt x="139039" y="64308"/>
                  <a:pt x="134814" y="60082"/>
                  <a:pt x="129602" y="60082"/>
                </a:cubicBezTo>
                <a:close/>
              </a:path>
            </a:pathLst>
          </a:custGeom>
          <a:solidFill>
            <a:srgbClr val="FFFFFF"/>
          </a:solidFill>
          <a:ln w="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2" name="Graphic 12">
            <a:extLst>
              <a:ext uri="{FF2B5EF4-FFF2-40B4-BE49-F238E27FC236}">
                <a16:creationId xmlns:a16="http://schemas.microsoft.com/office/drawing/2014/main" id="{0A799511-23FB-DE81-3C0A-FA3C8CE19F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33139" y="812640"/>
            <a:ext cx="91138" cy="91138"/>
          </a:xfrm>
          <a:custGeom>
            <a:avLst/>
            <a:gdLst>
              <a:gd name="connsiteX0" fmla="*/ 91138 w 91138"/>
              <a:gd name="connsiteY0" fmla="*/ 45569 h 91138"/>
              <a:gd name="connsiteX1" fmla="*/ 45569 w 91138"/>
              <a:gd name="connsiteY1" fmla="*/ 91138 h 91138"/>
              <a:gd name="connsiteX2" fmla="*/ 0 w 91138"/>
              <a:gd name="connsiteY2" fmla="*/ 45569 h 91138"/>
              <a:gd name="connsiteX3" fmla="*/ 45569 w 91138"/>
              <a:gd name="connsiteY3" fmla="*/ 0 h 91138"/>
              <a:gd name="connsiteX4" fmla="*/ 91138 w 91138"/>
              <a:gd name="connsiteY4" fmla="*/ 45569 h 9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8" h="91138">
                <a:moveTo>
                  <a:pt x="91138" y="45569"/>
                </a:moveTo>
                <a:cubicBezTo>
                  <a:pt x="91138" y="70736"/>
                  <a:pt x="70736" y="91138"/>
                  <a:pt x="45569" y="91138"/>
                </a:cubicBezTo>
                <a:cubicBezTo>
                  <a:pt x="20402" y="91138"/>
                  <a:pt x="0" y="70736"/>
                  <a:pt x="0" y="45569"/>
                </a:cubicBezTo>
                <a:cubicBezTo>
                  <a:pt x="0" y="20402"/>
                  <a:pt x="20402" y="0"/>
                  <a:pt x="45569" y="0"/>
                </a:cubicBezTo>
                <a:cubicBezTo>
                  <a:pt x="70736" y="0"/>
                  <a:pt x="91138" y="20402"/>
                  <a:pt x="91138" y="45569"/>
                </a:cubicBezTo>
                <a:close/>
              </a:path>
            </a:pathLst>
          </a:custGeom>
          <a:solidFill>
            <a:srgbClr val="FFFFFF"/>
          </a:solidFill>
          <a:ln w="4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4" name="Graphic 15">
            <a:extLst>
              <a:ext uri="{FF2B5EF4-FFF2-40B4-BE49-F238E27FC236}">
                <a16:creationId xmlns:a16="http://schemas.microsoft.com/office/drawing/2014/main" id="{13DADEB5-A16D-B279-F353-0A6B0245BF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58819" y="1037066"/>
            <a:ext cx="127714" cy="127714"/>
          </a:xfrm>
          <a:custGeom>
            <a:avLst/>
            <a:gdLst>
              <a:gd name="connsiteX0" fmla="*/ 63857 w 127714"/>
              <a:gd name="connsiteY0" fmla="*/ 18874 h 127714"/>
              <a:gd name="connsiteX1" fmla="*/ 108840 w 127714"/>
              <a:gd name="connsiteY1" fmla="*/ 63857 h 127714"/>
              <a:gd name="connsiteX2" fmla="*/ 63857 w 127714"/>
              <a:gd name="connsiteY2" fmla="*/ 108840 h 127714"/>
              <a:gd name="connsiteX3" fmla="*/ 18874 w 127714"/>
              <a:gd name="connsiteY3" fmla="*/ 63857 h 127714"/>
              <a:gd name="connsiteX4" fmla="*/ 63857 w 127714"/>
              <a:gd name="connsiteY4" fmla="*/ 18874 h 127714"/>
              <a:gd name="connsiteX5" fmla="*/ 63857 w 127714"/>
              <a:gd name="connsiteY5" fmla="*/ 0 h 127714"/>
              <a:gd name="connsiteX6" fmla="*/ 0 w 127714"/>
              <a:gd name="connsiteY6" fmla="*/ 63857 h 127714"/>
              <a:gd name="connsiteX7" fmla="*/ 63857 w 127714"/>
              <a:gd name="connsiteY7" fmla="*/ 127714 h 127714"/>
              <a:gd name="connsiteX8" fmla="*/ 127714 w 127714"/>
              <a:gd name="connsiteY8" fmla="*/ 63857 h 127714"/>
              <a:gd name="connsiteX9" fmla="*/ 63857 w 127714"/>
              <a:gd name="connsiteY9" fmla="*/ 0 h 12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14" h="127714">
                <a:moveTo>
                  <a:pt x="63857" y="18874"/>
                </a:moveTo>
                <a:cubicBezTo>
                  <a:pt x="88700" y="18874"/>
                  <a:pt x="108840" y="39014"/>
                  <a:pt x="108840" y="63857"/>
                </a:cubicBezTo>
                <a:cubicBezTo>
                  <a:pt x="108840" y="88700"/>
                  <a:pt x="88700" y="108840"/>
                  <a:pt x="63857" y="108840"/>
                </a:cubicBezTo>
                <a:cubicBezTo>
                  <a:pt x="39014" y="108840"/>
                  <a:pt x="18874" y="88700"/>
                  <a:pt x="18874" y="63857"/>
                </a:cubicBezTo>
                <a:cubicBezTo>
                  <a:pt x="18898" y="39024"/>
                  <a:pt x="39024" y="18898"/>
                  <a:pt x="63857" y="18874"/>
                </a:cubicBezTo>
                <a:moveTo>
                  <a:pt x="63857" y="0"/>
                </a:moveTo>
                <a:cubicBezTo>
                  <a:pt x="28590" y="0"/>
                  <a:pt x="0" y="28590"/>
                  <a:pt x="0" y="63857"/>
                </a:cubicBezTo>
                <a:cubicBezTo>
                  <a:pt x="0" y="99124"/>
                  <a:pt x="28590" y="127714"/>
                  <a:pt x="63857" y="127714"/>
                </a:cubicBezTo>
                <a:cubicBezTo>
                  <a:pt x="99124" y="127714"/>
                  <a:pt x="127714" y="99124"/>
                  <a:pt x="127714" y="63857"/>
                </a:cubicBezTo>
                <a:cubicBezTo>
                  <a:pt x="127714" y="28590"/>
                  <a:pt x="99124" y="0"/>
                  <a:pt x="63857" y="0"/>
                </a:cubicBezTo>
                <a:close/>
              </a:path>
            </a:pathLst>
          </a:custGeom>
          <a:solidFill>
            <a:srgbClr val="FFFFFF"/>
          </a:solidFill>
          <a:ln w="6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16" name="Straight Connector 15">
            <a:extLst>
              <a:ext uri="{FF2B5EF4-FFF2-40B4-BE49-F238E27FC236}">
                <a16:creationId xmlns:a16="http://schemas.microsoft.com/office/drawing/2014/main" id="{30E0ACCE-8E07-86B5-243D-2B9C09DE60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56114" y="3503032"/>
            <a:ext cx="0" cy="3346090"/>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
        <p:nvSpPr>
          <p:cNvPr id="18" name="Graphic 22">
            <a:extLst>
              <a:ext uri="{FF2B5EF4-FFF2-40B4-BE49-F238E27FC236}">
                <a16:creationId xmlns:a16="http://schemas.microsoft.com/office/drawing/2014/main" id="{08A6654B-6958-5675-1C5C-B113BC1C31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36425" y="5636680"/>
            <a:ext cx="151536" cy="151536"/>
          </a:xfrm>
          <a:custGeom>
            <a:avLst/>
            <a:gdLst>
              <a:gd name="connsiteX0" fmla="*/ 141251 w 151536"/>
              <a:gd name="connsiteY0" fmla="*/ 65483 h 151536"/>
              <a:gd name="connsiteX1" fmla="*/ 86053 w 151536"/>
              <a:gd name="connsiteY1" fmla="*/ 65483 h 151536"/>
              <a:gd name="connsiteX2" fmla="*/ 86053 w 151536"/>
              <a:gd name="connsiteY2" fmla="*/ 10285 h 151536"/>
              <a:gd name="connsiteX3" fmla="*/ 75768 w 151536"/>
              <a:gd name="connsiteY3" fmla="*/ 0 h 151536"/>
              <a:gd name="connsiteX4" fmla="*/ 65483 w 151536"/>
              <a:gd name="connsiteY4" fmla="*/ 10285 h 151536"/>
              <a:gd name="connsiteX5" fmla="*/ 65483 w 151536"/>
              <a:gd name="connsiteY5" fmla="*/ 65483 h 151536"/>
              <a:gd name="connsiteX6" fmla="*/ 10285 w 151536"/>
              <a:gd name="connsiteY6" fmla="*/ 65483 h 151536"/>
              <a:gd name="connsiteX7" fmla="*/ 0 w 151536"/>
              <a:gd name="connsiteY7" fmla="*/ 75768 h 151536"/>
              <a:gd name="connsiteX8" fmla="*/ 10285 w 151536"/>
              <a:gd name="connsiteY8" fmla="*/ 86053 h 151536"/>
              <a:gd name="connsiteX9" fmla="*/ 65483 w 151536"/>
              <a:gd name="connsiteY9" fmla="*/ 86053 h 151536"/>
              <a:gd name="connsiteX10" fmla="*/ 65483 w 151536"/>
              <a:gd name="connsiteY10" fmla="*/ 141251 h 151536"/>
              <a:gd name="connsiteX11" fmla="*/ 75768 w 151536"/>
              <a:gd name="connsiteY11" fmla="*/ 151536 h 151536"/>
              <a:gd name="connsiteX12" fmla="*/ 86053 w 151536"/>
              <a:gd name="connsiteY12" fmla="*/ 141251 h 151536"/>
              <a:gd name="connsiteX13" fmla="*/ 86053 w 151536"/>
              <a:gd name="connsiteY13" fmla="*/ 86053 h 151536"/>
              <a:gd name="connsiteX14" fmla="*/ 141251 w 151536"/>
              <a:gd name="connsiteY14" fmla="*/ 86053 h 151536"/>
              <a:gd name="connsiteX15" fmla="*/ 151536 w 151536"/>
              <a:gd name="connsiteY15" fmla="*/ 75768 h 151536"/>
              <a:gd name="connsiteX16" fmla="*/ 141251 w 151536"/>
              <a:gd name="connsiteY16" fmla="*/ 65483 h 151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1536" h="151536">
                <a:moveTo>
                  <a:pt x="141251" y="65483"/>
                </a:moveTo>
                <a:lnTo>
                  <a:pt x="86053" y="65483"/>
                </a:lnTo>
                <a:lnTo>
                  <a:pt x="86053" y="10285"/>
                </a:lnTo>
                <a:cubicBezTo>
                  <a:pt x="86053" y="4605"/>
                  <a:pt x="81448" y="0"/>
                  <a:pt x="75768" y="0"/>
                </a:cubicBezTo>
                <a:cubicBezTo>
                  <a:pt x="70088" y="0"/>
                  <a:pt x="65483" y="4605"/>
                  <a:pt x="65483" y="10285"/>
                </a:cubicBezTo>
                <a:lnTo>
                  <a:pt x="65483" y="65483"/>
                </a:lnTo>
                <a:lnTo>
                  <a:pt x="10285" y="65483"/>
                </a:lnTo>
                <a:cubicBezTo>
                  <a:pt x="4605" y="65483"/>
                  <a:pt x="0" y="70088"/>
                  <a:pt x="0" y="75768"/>
                </a:cubicBezTo>
                <a:cubicBezTo>
                  <a:pt x="0" y="81448"/>
                  <a:pt x="4605" y="86053"/>
                  <a:pt x="10285" y="86053"/>
                </a:cubicBezTo>
                <a:lnTo>
                  <a:pt x="65483" y="86053"/>
                </a:lnTo>
                <a:lnTo>
                  <a:pt x="65483" y="141251"/>
                </a:lnTo>
                <a:cubicBezTo>
                  <a:pt x="65483" y="146931"/>
                  <a:pt x="70088" y="151536"/>
                  <a:pt x="75768" y="151536"/>
                </a:cubicBezTo>
                <a:cubicBezTo>
                  <a:pt x="81448" y="151536"/>
                  <a:pt x="86053" y="146931"/>
                  <a:pt x="86053" y="141251"/>
                </a:cubicBezTo>
                <a:lnTo>
                  <a:pt x="86053" y="86053"/>
                </a:lnTo>
                <a:lnTo>
                  <a:pt x="141251" y="86053"/>
                </a:lnTo>
                <a:cubicBezTo>
                  <a:pt x="146931" y="86053"/>
                  <a:pt x="151536" y="81448"/>
                  <a:pt x="151536" y="75768"/>
                </a:cubicBezTo>
                <a:cubicBezTo>
                  <a:pt x="151536" y="70088"/>
                  <a:pt x="146931" y="65483"/>
                  <a:pt x="141251" y="65483"/>
                </a:cubicBezTo>
                <a:close/>
              </a:path>
            </a:pathLst>
          </a:custGeom>
          <a:solidFill>
            <a:srgbClr val="FFFFFF"/>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20" name="Graphic 23">
            <a:extLst>
              <a:ext uri="{FF2B5EF4-FFF2-40B4-BE49-F238E27FC236}">
                <a16:creationId xmlns:a16="http://schemas.microsoft.com/office/drawing/2014/main" id="{56DCCDFD-4A03-C58A-A614-1D77C115A5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45175" y="6096759"/>
            <a:ext cx="108625" cy="108625"/>
          </a:xfrm>
          <a:custGeom>
            <a:avLst/>
            <a:gdLst>
              <a:gd name="connsiteX0" fmla="*/ 54313 w 108625"/>
              <a:gd name="connsiteY0" fmla="*/ 16053 h 108625"/>
              <a:gd name="connsiteX1" fmla="*/ 92572 w 108625"/>
              <a:gd name="connsiteY1" fmla="*/ 54313 h 108625"/>
              <a:gd name="connsiteX2" fmla="*/ 54313 w 108625"/>
              <a:gd name="connsiteY2" fmla="*/ 92572 h 108625"/>
              <a:gd name="connsiteX3" fmla="*/ 16053 w 108625"/>
              <a:gd name="connsiteY3" fmla="*/ 54313 h 108625"/>
              <a:gd name="connsiteX4" fmla="*/ 54313 w 108625"/>
              <a:gd name="connsiteY4" fmla="*/ 16053 h 108625"/>
              <a:gd name="connsiteX5" fmla="*/ 54313 w 108625"/>
              <a:gd name="connsiteY5" fmla="*/ 0 h 108625"/>
              <a:gd name="connsiteX6" fmla="*/ 0 w 108625"/>
              <a:gd name="connsiteY6" fmla="*/ 54313 h 108625"/>
              <a:gd name="connsiteX7" fmla="*/ 54313 w 108625"/>
              <a:gd name="connsiteY7" fmla="*/ 108625 h 108625"/>
              <a:gd name="connsiteX8" fmla="*/ 108625 w 108625"/>
              <a:gd name="connsiteY8" fmla="*/ 54313 h 108625"/>
              <a:gd name="connsiteX9" fmla="*/ 54313 w 108625"/>
              <a:gd name="connsiteY9" fmla="*/ 0 h 10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625" h="108625">
                <a:moveTo>
                  <a:pt x="54313" y="16053"/>
                </a:moveTo>
                <a:cubicBezTo>
                  <a:pt x="75442" y="16053"/>
                  <a:pt x="92572" y="33182"/>
                  <a:pt x="92572" y="54313"/>
                </a:cubicBezTo>
                <a:cubicBezTo>
                  <a:pt x="92572" y="75442"/>
                  <a:pt x="75442" y="92572"/>
                  <a:pt x="54313" y="92572"/>
                </a:cubicBezTo>
                <a:cubicBezTo>
                  <a:pt x="33182" y="92572"/>
                  <a:pt x="16053" y="75442"/>
                  <a:pt x="16053" y="54313"/>
                </a:cubicBezTo>
                <a:cubicBezTo>
                  <a:pt x="16074" y="33191"/>
                  <a:pt x="33191" y="16074"/>
                  <a:pt x="54313" y="16053"/>
                </a:cubicBezTo>
                <a:moveTo>
                  <a:pt x="54313" y="0"/>
                </a:moveTo>
                <a:cubicBezTo>
                  <a:pt x="24317" y="0"/>
                  <a:pt x="0" y="24317"/>
                  <a:pt x="0" y="54313"/>
                </a:cubicBezTo>
                <a:cubicBezTo>
                  <a:pt x="0" y="84309"/>
                  <a:pt x="24317" y="108625"/>
                  <a:pt x="54313" y="108625"/>
                </a:cubicBezTo>
                <a:cubicBezTo>
                  <a:pt x="84309" y="108625"/>
                  <a:pt x="108625" y="84309"/>
                  <a:pt x="108625" y="54313"/>
                </a:cubicBezTo>
                <a:cubicBezTo>
                  <a:pt x="108625" y="24317"/>
                  <a:pt x="84309" y="0"/>
                  <a:pt x="54313" y="0"/>
                </a:cubicBezTo>
                <a:close/>
              </a:path>
            </a:pathLst>
          </a:custGeom>
          <a:solidFill>
            <a:srgbClr val="FFFFFF"/>
          </a:solidFill>
          <a:ln w="5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22" name="Graphic 21">
            <a:extLst>
              <a:ext uri="{FF2B5EF4-FFF2-40B4-BE49-F238E27FC236}">
                <a16:creationId xmlns:a16="http://schemas.microsoft.com/office/drawing/2014/main" id="{407A1684-945C-414A-79D0-46840F28A2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554288" y="6238029"/>
            <a:ext cx="95759" cy="95759"/>
          </a:xfrm>
          <a:custGeom>
            <a:avLst/>
            <a:gdLst>
              <a:gd name="connsiteX0" fmla="*/ 95759 w 95759"/>
              <a:gd name="connsiteY0" fmla="*/ 47880 h 95759"/>
              <a:gd name="connsiteX1" fmla="*/ 47880 w 95759"/>
              <a:gd name="connsiteY1" fmla="*/ 95759 h 95759"/>
              <a:gd name="connsiteX2" fmla="*/ 0 w 95759"/>
              <a:gd name="connsiteY2" fmla="*/ 47880 h 95759"/>
              <a:gd name="connsiteX3" fmla="*/ 47880 w 95759"/>
              <a:gd name="connsiteY3" fmla="*/ 0 h 95759"/>
              <a:gd name="connsiteX4" fmla="*/ 95759 w 95759"/>
              <a:gd name="connsiteY4" fmla="*/ 47880 h 95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59" h="95759">
                <a:moveTo>
                  <a:pt x="95759" y="47880"/>
                </a:moveTo>
                <a:cubicBezTo>
                  <a:pt x="95759" y="74323"/>
                  <a:pt x="74323" y="95759"/>
                  <a:pt x="47880" y="95759"/>
                </a:cubicBezTo>
                <a:cubicBezTo>
                  <a:pt x="21436" y="95759"/>
                  <a:pt x="0" y="74323"/>
                  <a:pt x="0" y="47880"/>
                </a:cubicBezTo>
                <a:cubicBezTo>
                  <a:pt x="0" y="21436"/>
                  <a:pt x="21436" y="0"/>
                  <a:pt x="47880" y="0"/>
                </a:cubicBezTo>
                <a:cubicBezTo>
                  <a:pt x="74323" y="0"/>
                  <a:pt x="95759" y="21436"/>
                  <a:pt x="95759" y="47880"/>
                </a:cubicBezTo>
                <a:close/>
              </a:path>
            </a:pathLst>
          </a:custGeom>
          <a:solidFill>
            <a:srgbClr val="FFFFFF"/>
          </a:solidFill>
          <a:ln w="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09952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D4AF2D-3098-DAA4-9830-4D4D612585CC}"/>
              </a:ext>
            </a:extLst>
          </p:cNvPr>
          <p:cNvSpPr>
            <a:spLocks noGrp="1"/>
          </p:cNvSpPr>
          <p:nvPr>
            <p:ph type="title"/>
          </p:nvPr>
        </p:nvSpPr>
        <p:spPr>
          <a:xfrm>
            <a:off x="457199" y="555639"/>
            <a:ext cx="9601200" cy="304699"/>
          </a:xfrm>
        </p:spPr>
        <p:txBody>
          <a:bodyPr wrap="square" anchor="t">
            <a:noAutofit/>
          </a:bodyPr>
          <a:lstStyle/>
          <a:p>
            <a:r>
              <a:rPr lang="en-US" sz="2800" dirty="0"/>
              <a:t>Unprecedented Cost and Regulatory Pressures are changing the Payer Landscape</a:t>
            </a:r>
          </a:p>
        </p:txBody>
      </p:sp>
      <p:graphicFrame>
        <p:nvGraphicFramePr>
          <p:cNvPr id="5" name="Content Placeholder 1">
            <a:extLst>
              <a:ext uri="{FF2B5EF4-FFF2-40B4-BE49-F238E27FC236}">
                <a16:creationId xmlns:a16="http://schemas.microsoft.com/office/drawing/2014/main" id="{2E7119A5-19E1-328F-FDEB-C6CD1BCC895F}"/>
              </a:ext>
            </a:extLst>
          </p:cNvPr>
          <p:cNvGraphicFramePr>
            <a:graphicFrameLocks noGrp="1"/>
          </p:cNvGraphicFramePr>
          <p:nvPr>
            <p:ph idx="1"/>
            <p:extLst>
              <p:ext uri="{D42A27DB-BD31-4B8C-83A1-F6EECF244321}">
                <p14:modId xmlns:p14="http://schemas.microsoft.com/office/powerpoint/2010/main" val="3733058640"/>
              </p:ext>
            </p:extLst>
          </p:nvPr>
        </p:nvGraphicFramePr>
        <p:xfrm>
          <a:off x="1524000" y="1557210"/>
          <a:ext cx="9144000" cy="39300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44312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63FE46-10B3-3486-D123-D10EB8D34F19}"/>
              </a:ext>
            </a:extLst>
          </p:cNvPr>
          <p:cNvSpPr>
            <a:spLocks noGrp="1"/>
          </p:cNvSpPr>
          <p:nvPr>
            <p:ph type="body" idx="1"/>
          </p:nvPr>
        </p:nvSpPr>
        <p:spPr>
          <a:xfrm>
            <a:off x="1752600" y="4255572"/>
            <a:ext cx="8686800" cy="332399"/>
          </a:xfrm>
        </p:spPr>
        <p:txBody>
          <a:bodyPr>
            <a:normAutofit/>
          </a:bodyPr>
          <a:lstStyle/>
          <a:p>
            <a:pPr>
              <a:spcAft>
                <a:spcPts val="600"/>
              </a:spcAft>
            </a:pPr>
            <a:r>
              <a:rPr lang="en-US" dirty="0"/>
              <a:t>Primary care clinicians are at the heart of this strategy</a:t>
            </a:r>
          </a:p>
        </p:txBody>
      </p:sp>
      <p:sp>
        <p:nvSpPr>
          <p:cNvPr id="4" name="Text Placeholder 3">
            <a:extLst>
              <a:ext uri="{FF2B5EF4-FFF2-40B4-BE49-F238E27FC236}">
                <a16:creationId xmlns:a16="http://schemas.microsoft.com/office/drawing/2014/main" id="{B25A296D-EC92-F3C8-7E99-B1D6AF79CF0B}"/>
              </a:ext>
            </a:extLst>
          </p:cNvPr>
          <p:cNvSpPr>
            <a:spLocks noGrp="1"/>
          </p:cNvSpPr>
          <p:nvPr>
            <p:ph type="title"/>
          </p:nvPr>
        </p:nvSpPr>
        <p:spPr>
          <a:xfrm>
            <a:off x="1752600" y="2451107"/>
            <a:ext cx="8686800" cy="1523494"/>
          </a:xfrm>
        </p:spPr>
        <p:txBody>
          <a:bodyPr wrap="square" anchor="b">
            <a:normAutofit/>
          </a:bodyPr>
          <a:lstStyle/>
          <a:p>
            <a:r>
              <a:rPr lang="en-US" sz="5100" dirty="0"/>
              <a:t>Full risk value-based care remains a critical strategy</a:t>
            </a:r>
          </a:p>
        </p:txBody>
      </p:sp>
    </p:spTree>
    <p:extLst>
      <p:ext uri="{BB962C8B-B14F-4D97-AF65-F5344CB8AC3E}">
        <p14:creationId xmlns:p14="http://schemas.microsoft.com/office/powerpoint/2010/main" val="2212991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729124-1347-C7E7-A857-A0892956F24C}"/>
              </a:ext>
            </a:extLst>
          </p:cNvPr>
          <p:cNvSpPr>
            <a:spLocks noGrp="1"/>
          </p:cNvSpPr>
          <p:nvPr>
            <p:ph type="body" sz="quarter" idx="13"/>
          </p:nvPr>
        </p:nvSpPr>
        <p:spPr/>
        <p:txBody>
          <a:bodyPr>
            <a:normAutofit/>
          </a:bodyPr>
          <a:lstStyle/>
          <a:p>
            <a:r>
              <a:rPr lang="en-US" sz="3600" dirty="0"/>
              <a:t>“The most effective tool we have to ensure better outcomes and lower total cost of care for a patient is to make sure they have a good value-based PCP”</a:t>
            </a:r>
          </a:p>
        </p:txBody>
      </p:sp>
      <p:sp>
        <p:nvSpPr>
          <p:cNvPr id="3" name="Text Placeholder 2">
            <a:extLst>
              <a:ext uri="{FF2B5EF4-FFF2-40B4-BE49-F238E27FC236}">
                <a16:creationId xmlns:a16="http://schemas.microsoft.com/office/drawing/2014/main" id="{8F9A9361-FE21-92E4-9C6D-A408CE99704B}"/>
              </a:ext>
            </a:extLst>
          </p:cNvPr>
          <p:cNvSpPr>
            <a:spLocks noGrp="1"/>
          </p:cNvSpPr>
          <p:nvPr>
            <p:ph type="body" sz="quarter" idx="14"/>
          </p:nvPr>
        </p:nvSpPr>
        <p:spPr/>
        <p:txBody>
          <a:bodyPr/>
          <a:lstStyle/>
          <a:p>
            <a:r>
              <a:rPr lang="en-US" dirty="0"/>
              <a:t>Health Insurance Executive, 2022</a:t>
            </a:r>
          </a:p>
        </p:txBody>
      </p:sp>
    </p:spTree>
    <p:extLst>
      <p:ext uri="{BB962C8B-B14F-4D97-AF65-F5344CB8AC3E}">
        <p14:creationId xmlns:p14="http://schemas.microsoft.com/office/powerpoint/2010/main" val="18788290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37573F-4A0E-6EAD-E229-EA1DD02E14C3}"/>
              </a:ext>
            </a:extLst>
          </p:cNvPr>
          <p:cNvSpPr>
            <a:spLocks noGrp="1"/>
          </p:cNvSpPr>
          <p:nvPr>
            <p:ph idx="1"/>
          </p:nvPr>
        </p:nvSpPr>
        <p:spPr/>
        <p:txBody>
          <a:bodyPr/>
          <a:lstStyle/>
          <a:p>
            <a:pPr marL="342900" indent="-342900">
              <a:buFont typeface="Wingdings" panose="05000000000000000000" pitchFamily="2" charset="2"/>
              <a:buChar char="q"/>
            </a:pPr>
            <a:r>
              <a:rPr lang="en-US" sz="2400" dirty="0"/>
              <a:t>Financial support to invest in resources to drive higher value care</a:t>
            </a:r>
          </a:p>
          <a:p>
            <a:pPr marL="285750" indent="-285750">
              <a:buFont typeface="Wingdings" panose="05000000000000000000" pitchFamily="2" charset="2"/>
              <a:buChar char="q"/>
            </a:pPr>
            <a:r>
              <a:rPr lang="en-US" sz="2400" dirty="0"/>
              <a:t>Usable analytic insights to identify opportunities to drive high value care and reduce low value care (e.g. specialist referrals, preferred lab/radiology partners)</a:t>
            </a:r>
          </a:p>
          <a:p>
            <a:pPr marL="342900" indent="-342900">
              <a:buFont typeface="Wingdings" panose="05000000000000000000" pitchFamily="2" charset="2"/>
              <a:buChar char="q"/>
            </a:pPr>
            <a:r>
              <a:rPr lang="en-US" sz="2400" dirty="0"/>
              <a:t>Must be enabled within the clinical workflow in the EMR</a:t>
            </a:r>
          </a:p>
          <a:p>
            <a:pPr marL="342900" indent="-342900">
              <a:buFont typeface="Wingdings" panose="05000000000000000000" pitchFamily="2" charset="2"/>
              <a:buChar char="q"/>
            </a:pPr>
            <a:r>
              <a:rPr lang="en-US" sz="2400" dirty="0"/>
              <a:t>Directly align financial incentives with clinical outcomes – meaningfully</a:t>
            </a:r>
          </a:p>
          <a:p>
            <a:pPr marL="342900" indent="-342900">
              <a:buFont typeface="Wingdings" panose="05000000000000000000" pitchFamily="2" charset="2"/>
              <a:buChar char="q"/>
            </a:pPr>
            <a:r>
              <a:rPr lang="en-US" sz="2400" dirty="0"/>
              <a:t>Enable </a:t>
            </a:r>
            <a:r>
              <a:rPr lang="en-US" sz="2400"/>
              <a:t>clinicians with AI </a:t>
            </a:r>
            <a:r>
              <a:rPr lang="en-US" sz="2400" dirty="0"/>
              <a:t>tools to substantially reduce administrative and cognitive burden</a:t>
            </a:r>
          </a:p>
          <a:p>
            <a:pPr marL="342900" indent="-342900">
              <a:buAutoNum type="arabicPeriod"/>
            </a:pPr>
            <a:endParaRPr lang="en-US" dirty="0"/>
          </a:p>
        </p:txBody>
      </p:sp>
      <p:sp>
        <p:nvSpPr>
          <p:cNvPr id="3" name="Title 2">
            <a:extLst>
              <a:ext uri="{FF2B5EF4-FFF2-40B4-BE49-F238E27FC236}">
                <a16:creationId xmlns:a16="http://schemas.microsoft.com/office/drawing/2014/main" id="{E4858946-8B89-E9BD-5FD1-D7F1E49CEF0F}"/>
              </a:ext>
            </a:extLst>
          </p:cNvPr>
          <p:cNvSpPr>
            <a:spLocks noGrp="1"/>
          </p:cNvSpPr>
          <p:nvPr>
            <p:ph type="title"/>
          </p:nvPr>
        </p:nvSpPr>
        <p:spPr>
          <a:xfrm>
            <a:off x="457199" y="555639"/>
            <a:ext cx="9601200" cy="387798"/>
          </a:xfrm>
        </p:spPr>
        <p:txBody>
          <a:bodyPr/>
          <a:lstStyle/>
          <a:p>
            <a:r>
              <a:rPr lang="en-US" sz="2800" dirty="0"/>
              <a:t>Strategies to support Value-based primary care</a:t>
            </a:r>
          </a:p>
        </p:txBody>
      </p:sp>
    </p:spTree>
    <p:extLst>
      <p:ext uri="{BB962C8B-B14F-4D97-AF65-F5344CB8AC3E}">
        <p14:creationId xmlns:p14="http://schemas.microsoft.com/office/powerpoint/2010/main" val="2890491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A413A0-3452-541A-E4CB-7FA1BEA29D31}"/>
              </a:ext>
            </a:extLst>
          </p:cNvPr>
          <p:cNvPicPr>
            <a:picLocks noChangeAspect="1"/>
          </p:cNvPicPr>
          <p:nvPr/>
        </p:nvPicPr>
        <p:blipFill>
          <a:blip r:embed="rId2"/>
          <a:stretch>
            <a:fillRect/>
          </a:stretch>
        </p:blipFill>
        <p:spPr>
          <a:xfrm>
            <a:off x="5757" y="0"/>
            <a:ext cx="12180486" cy="6858000"/>
          </a:xfrm>
          <a:prstGeom prst="rect">
            <a:avLst/>
          </a:prstGeom>
        </p:spPr>
      </p:pic>
    </p:spTree>
    <p:extLst>
      <p:ext uri="{BB962C8B-B14F-4D97-AF65-F5344CB8AC3E}">
        <p14:creationId xmlns:p14="http://schemas.microsoft.com/office/powerpoint/2010/main" val="35729221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0DC369-79A5-86A3-1E46-6C73FD3CD078}"/>
              </a:ext>
            </a:extLst>
          </p:cNvPr>
          <p:cNvPicPr>
            <a:picLocks noChangeAspect="1"/>
          </p:cNvPicPr>
          <p:nvPr/>
        </p:nvPicPr>
        <p:blipFill>
          <a:blip r:embed="rId2"/>
          <a:stretch>
            <a:fillRect/>
          </a:stretch>
        </p:blipFill>
        <p:spPr>
          <a:xfrm>
            <a:off x="0" y="31921"/>
            <a:ext cx="12192000" cy="6794158"/>
          </a:xfrm>
          <a:prstGeom prst="rect">
            <a:avLst/>
          </a:prstGeom>
        </p:spPr>
      </p:pic>
    </p:spTree>
    <p:extLst>
      <p:ext uri="{BB962C8B-B14F-4D97-AF65-F5344CB8AC3E}">
        <p14:creationId xmlns:p14="http://schemas.microsoft.com/office/powerpoint/2010/main" val="4376323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CA31EE-2A76-2220-5B91-5ADC0E13CBAE}"/>
              </a:ext>
            </a:extLst>
          </p:cNvPr>
          <p:cNvPicPr>
            <a:picLocks noChangeAspect="1"/>
          </p:cNvPicPr>
          <p:nvPr/>
        </p:nvPicPr>
        <p:blipFill>
          <a:blip r:embed="rId2"/>
          <a:stretch>
            <a:fillRect/>
          </a:stretch>
        </p:blipFill>
        <p:spPr>
          <a:xfrm>
            <a:off x="0" y="22549"/>
            <a:ext cx="12192000" cy="6812901"/>
          </a:xfrm>
          <a:prstGeom prst="rect">
            <a:avLst/>
          </a:prstGeom>
        </p:spPr>
      </p:pic>
    </p:spTree>
    <p:extLst>
      <p:ext uri="{BB962C8B-B14F-4D97-AF65-F5344CB8AC3E}">
        <p14:creationId xmlns:p14="http://schemas.microsoft.com/office/powerpoint/2010/main" val="34760398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743AB5-D771-8DC8-3B9F-AB64323D28F6}"/>
              </a:ext>
            </a:extLst>
          </p:cNvPr>
          <p:cNvPicPr>
            <a:picLocks noChangeAspect="1"/>
          </p:cNvPicPr>
          <p:nvPr/>
        </p:nvPicPr>
        <p:blipFill>
          <a:blip r:embed="rId2"/>
          <a:stretch>
            <a:fillRect/>
          </a:stretch>
        </p:blipFill>
        <p:spPr>
          <a:xfrm>
            <a:off x="0" y="6766"/>
            <a:ext cx="12192000" cy="6844467"/>
          </a:xfrm>
          <a:prstGeom prst="rect">
            <a:avLst/>
          </a:prstGeom>
        </p:spPr>
      </p:pic>
    </p:spTree>
    <p:extLst>
      <p:ext uri="{BB962C8B-B14F-4D97-AF65-F5344CB8AC3E}">
        <p14:creationId xmlns:p14="http://schemas.microsoft.com/office/powerpoint/2010/main" val="3895622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ptum Theme">
  <a:themeElements>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glg-20220119.potx" id="{7F3E7622-1EBC-4F6E-B9DD-B4E700166E15}" vid="{72FB0167-D41A-4D50-8651-7B68CC4E385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DDF94EB6690B45BC9497696021C032" ma:contentTypeVersion="12" ma:contentTypeDescription="Create a new document." ma:contentTypeScope="" ma:versionID="b5511952c63ed41727d3c4533ccb6905">
  <xsd:schema xmlns:xsd="http://www.w3.org/2001/XMLSchema" xmlns:xs="http://www.w3.org/2001/XMLSchema" xmlns:p="http://schemas.microsoft.com/office/2006/metadata/properties" xmlns:ns2="f3b1d26d-160f-43af-9308-7ea5d3dd2c70" xmlns:ns3="a6f107b9-b596-461e-8851-85383e20fa59" targetNamespace="http://schemas.microsoft.com/office/2006/metadata/properties" ma:root="true" ma:fieldsID="c86f35ce65e5b0caf1870cdd0d339972" ns2:_="" ns3:_="">
    <xsd:import namespace="f3b1d26d-160f-43af-9308-7ea5d3dd2c70"/>
    <xsd:import namespace="a6f107b9-b596-461e-8851-85383e20fa5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lcf76f155ced4ddcb4097134ff3c332f" minOccurs="0"/>
                <xsd:element ref="ns3:TaxCatchAll" minOccurs="0"/>
                <xsd:element ref="ns2:MediaServiceGenerationTime" minOccurs="0"/>
                <xsd:element ref="ns2:MediaServiceEventHashCode" minOccurs="0"/>
                <xsd:element ref="ns2:MediaLengthInSecond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b1d26d-160f-43af-9308-7ea5d3dd2c7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5f58e485-0d26-4f10-8645-ad2692e9af28"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6f107b9-b596-461e-8851-85383e20fa59"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dec236d0-3c17-4c11-82a7-9855db687cf4}" ma:internalName="TaxCatchAll" ma:showField="CatchAllData" ma:web="a6f107b9-b596-461e-8851-85383e20fa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3b1d26d-160f-43af-9308-7ea5d3dd2c70">
      <Terms xmlns="http://schemas.microsoft.com/office/infopath/2007/PartnerControls"/>
    </lcf76f155ced4ddcb4097134ff3c332f>
    <TaxCatchAll xmlns="a6f107b9-b596-461e-8851-85383e20fa59" xsi:nil="true"/>
  </documentManagement>
</p:properties>
</file>

<file path=customXml/itemProps1.xml><?xml version="1.0" encoding="utf-8"?>
<ds:datastoreItem xmlns:ds="http://schemas.openxmlformats.org/officeDocument/2006/customXml" ds:itemID="{66F52B52-55F7-4722-B929-46149C79686C}"/>
</file>

<file path=customXml/itemProps2.xml><?xml version="1.0" encoding="utf-8"?>
<ds:datastoreItem xmlns:ds="http://schemas.openxmlformats.org/officeDocument/2006/customXml" ds:itemID="{4AE9EFD8-C597-44E1-885E-BDBD5B57AB6E}"/>
</file>

<file path=customXml/itemProps3.xml><?xml version="1.0" encoding="utf-8"?>
<ds:datastoreItem xmlns:ds="http://schemas.openxmlformats.org/officeDocument/2006/customXml" ds:itemID="{CD94BE7F-6089-48E9-A4D7-EFAD164FCAE9}"/>
</file>

<file path=docProps/app.xml><?xml version="1.0" encoding="utf-8"?>
<Properties xmlns="http://schemas.openxmlformats.org/officeDocument/2006/extended-properties" xmlns:vt="http://schemas.openxmlformats.org/officeDocument/2006/docPropsVTypes">
  <TotalTime>201</TotalTime>
  <Words>189</Words>
  <Application>Microsoft Office PowerPoint</Application>
  <PresentationFormat>Widescreen</PresentationFormat>
  <Paragraphs>21</Paragraphs>
  <Slides>9</Slides>
  <Notes>3</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9</vt:i4>
      </vt:variant>
    </vt:vector>
  </HeadingPairs>
  <TitlesOfParts>
    <vt:vector size="15" baseType="lpstr">
      <vt:lpstr>Aptos</vt:lpstr>
      <vt:lpstr>Aptos Display</vt:lpstr>
      <vt:lpstr>Arial</vt:lpstr>
      <vt:lpstr>Wingdings</vt:lpstr>
      <vt:lpstr>Office Theme</vt:lpstr>
      <vt:lpstr>Optum Theme</vt:lpstr>
      <vt:lpstr>Payer perspective on Primary Care</vt:lpstr>
      <vt:lpstr>Unprecedented Cost and Regulatory Pressures are changing the Payer Landscape</vt:lpstr>
      <vt:lpstr>Full risk value-based care remains a critical strategy</vt:lpstr>
      <vt:lpstr>PowerPoint Presentation</vt:lpstr>
      <vt:lpstr>Strategies to support Value-based primary car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atherine Goodrich</dc:creator>
  <cp:lastModifiedBy>Kate Goodrich</cp:lastModifiedBy>
  <cp:revision>2</cp:revision>
  <dcterms:created xsi:type="dcterms:W3CDTF">2026-04-18T14:50:22Z</dcterms:created>
  <dcterms:modified xsi:type="dcterms:W3CDTF">2026-05-12T20:2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DDF94EB6690B45BC9497696021C032</vt:lpwstr>
  </property>
</Properties>
</file>